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5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1" r:id="rId1"/>
    <p:sldMasterId id="2147483663" r:id="rId2"/>
    <p:sldMasterId id="2147483719" r:id="rId3"/>
    <p:sldMasterId id="2147483732" r:id="rId4"/>
    <p:sldMasterId id="2147483787" r:id="rId5"/>
  </p:sldMasterIdLst>
  <p:notesMasterIdLst>
    <p:notesMasterId r:id="rId16"/>
  </p:notesMasterIdLst>
  <p:sldIdLst>
    <p:sldId id="261" r:id="rId6"/>
    <p:sldId id="16777107" r:id="rId7"/>
    <p:sldId id="16777108" r:id="rId8"/>
    <p:sldId id="16777109" r:id="rId9"/>
    <p:sldId id="16777106" r:id="rId10"/>
    <p:sldId id="16777098" r:id="rId11"/>
    <p:sldId id="475" r:id="rId12"/>
    <p:sldId id="16777110" r:id="rId13"/>
    <p:sldId id="16777111" r:id="rId14"/>
    <p:sldId id="1677711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1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72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3354D7-3FA6-4543-9516-EF4AED6F8E5F}" type="datetimeFigureOut">
              <a:rPr lang="en-US" smtClean="0"/>
              <a:t>10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E6E143-5A62-425C-BA8E-12B8BFD79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938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C0263-A3DE-9AB4-2250-0B19586B3E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A3FDEC-B2B5-4C41-6112-DE7FEB0AE3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7706BA-66EB-1F81-0669-DBF4BB013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EF37F-8199-9594-7107-84F6AA589B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609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9348C-CD79-289C-A0E4-198FC137D9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25297C-D312-84CA-1578-6FBA03D628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D74F8D-EA6C-F7B0-9769-8B7ECB76AE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2401C3-940D-59BC-660D-FBE6A4C59A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1360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6" Type="http://schemas.microsoft.com/office/2007/relationships/hdphoto" Target="../media/hdphoto4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4.xml"/><Relationship Id="rId4" Type="http://schemas.openxmlformats.org/officeDocument/2006/relationships/image" Target="../media/image12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5.xml"/><Relationship Id="rId4" Type="http://schemas.openxmlformats.org/officeDocument/2006/relationships/image" Target="../media/image12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6.xml"/><Relationship Id="rId4" Type="http://schemas.openxmlformats.org/officeDocument/2006/relationships/image" Target="../media/image12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7.xml"/><Relationship Id="rId4" Type="http://schemas.openxmlformats.org/officeDocument/2006/relationships/image" Target="../media/image12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8.xml"/><Relationship Id="rId4" Type="http://schemas.openxmlformats.org/officeDocument/2006/relationships/image" Target="../media/image1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9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0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2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3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4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5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6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7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8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9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microsoft.com/office/2007/relationships/hdphoto" Target="../media/hdphoto4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0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1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2.xml"/><Relationship Id="rId4" Type="http://schemas.openxmlformats.org/officeDocument/2006/relationships/image" Target="../media/image12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3.xml"/><Relationship Id="rId4" Type="http://schemas.openxmlformats.org/officeDocument/2006/relationships/image" Target="../media/image12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4.xml"/><Relationship Id="rId5" Type="http://schemas.openxmlformats.org/officeDocument/2006/relationships/image" Target="../media/image4.png"/><Relationship Id="rId4" Type="http://schemas.openxmlformats.org/officeDocument/2006/relationships/image" Target="../media/image15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5.xml"/><Relationship Id="rId4" Type="http://schemas.openxmlformats.org/officeDocument/2006/relationships/image" Target="../media/image12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6.xml"/><Relationship Id="rId4" Type="http://schemas.openxmlformats.org/officeDocument/2006/relationships/image" Target="../media/image12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7.xml"/><Relationship Id="rId4" Type="http://schemas.openxmlformats.org/officeDocument/2006/relationships/image" Target="../media/image12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8.xml"/><Relationship Id="rId4" Type="http://schemas.openxmlformats.org/officeDocument/2006/relationships/image" Target="../media/image12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9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0.xml"/><Relationship Id="rId4" Type="http://schemas.openxmlformats.org/officeDocument/2006/relationships/image" Target="../media/image12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3.xml"/><Relationship Id="rId4" Type="http://schemas.openxmlformats.org/officeDocument/2006/relationships/image" Target="../media/image12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4.xml"/><Relationship Id="rId4" Type="http://schemas.openxmlformats.org/officeDocument/2006/relationships/image" Target="../media/image12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5.xml"/><Relationship Id="rId4" Type="http://schemas.openxmlformats.org/officeDocument/2006/relationships/image" Target="../media/image12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6.xml"/><Relationship Id="rId4" Type="http://schemas.openxmlformats.org/officeDocument/2006/relationships/image" Target="../media/image12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7.xml"/><Relationship Id="rId4" Type="http://schemas.openxmlformats.org/officeDocument/2006/relationships/image" Target="../media/image12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8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9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0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2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3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4.xml"/><Relationship Id="rId5" Type="http://schemas.openxmlformats.org/officeDocument/2006/relationships/image" Target="../media/image14.png"/><Relationship Id="rId4" Type="http://schemas.openxmlformats.org/officeDocument/2006/relationships/image" Target="../media/image15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5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6.xml"/><Relationship Id="rId5" Type="http://schemas.openxmlformats.org/officeDocument/2006/relationships/image" Target="../media/image16.png"/><Relationship Id="rId4" Type="http://schemas.openxmlformats.org/officeDocument/2006/relationships/image" Target="../media/image12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7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8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9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0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1.xml"/><Relationship Id="rId5" Type="http://schemas.openxmlformats.org/officeDocument/2006/relationships/image" Target="../media/image6.png"/><Relationship Id="rId4" Type="http://schemas.openxmlformats.org/officeDocument/2006/relationships/image" Target="../media/image12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2.xml"/><Relationship Id="rId4" Type="http://schemas.openxmlformats.org/officeDocument/2006/relationships/image" Target="../media/image12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3.xml"/><Relationship Id="rId4" Type="http://schemas.openxmlformats.org/officeDocument/2006/relationships/image" Target="../media/image12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4.xml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5.xml"/><Relationship Id="rId4" Type="http://schemas.openxmlformats.org/officeDocument/2006/relationships/image" Target="../media/image12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6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Relationship Id="rId4" Type="http://schemas.openxmlformats.org/officeDocument/2006/relationships/image" Target="../media/image12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8.xml"/><Relationship Id="rId4" Type="http://schemas.openxmlformats.org/officeDocument/2006/relationships/image" Target="../media/image12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9.xml"/><Relationship Id="rId4" Type="http://schemas.openxmlformats.org/officeDocument/2006/relationships/image" Target="../media/image12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0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1.xml"/><Relationship Id="rId4" Type="http://schemas.openxmlformats.org/officeDocument/2006/relationships/image" Target="../media/image12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Relationship Id="rId4" Type="http://schemas.openxmlformats.org/officeDocument/2006/relationships/image" Target="../media/image1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Relationship Id="rId4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Relationship Id="rId4" Type="http://schemas.openxmlformats.org/officeDocument/2006/relationships/image" Target="../media/image1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0.xml"/><Relationship Id="rId4" Type="http://schemas.openxmlformats.org/officeDocument/2006/relationships/image" Target="../media/image1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1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2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Relationship Id="rId5" Type="http://schemas.openxmlformats.org/officeDocument/2006/relationships/image" Target="../media/image13.png"/><Relationship Id="rId4" Type="http://schemas.openxmlformats.org/officeDocument/2006/relationships/image" Target="../media/image19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5.xml"/><Relationship Id="rId4" Type="http://schemas.openxmlformats.org/officeDocument/2006/relationships/image" Target="../media/image1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6.xml"/><Relationship Id="rId4" Type="http://schemas.openxmlformats.org/officeDocument/2006/relationships/image" Target="../media/image1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7.xml"/><Relationship Id="rId5" Type="http://schemas.openxmlformats.org/officeDocument/2006/relationships/image" Target="../media/image14.png"/><Relationship Id="rId4" Type="http://schemas.openxmlformats.org/officeDocument/2006/relationships/image" Target="../media/image19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microsoft.com/office/2007/relationships/hdphoto" Target="../media/hdphoto4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6" Type="http://schemas.microsoft.com/office/2007/relationships/hdphoto" Target="../media/hdphoto4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4" Type="http://schemas.openxmlformats.org/officeDocument/2006/relationships/image" Target="../media/image2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3046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6263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98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304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970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76529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668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823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2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8101584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315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302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130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676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599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093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760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089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865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036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037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313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022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714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55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9929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640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747822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488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542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747822" cy="6975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046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250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4496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885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989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4496" cy="6975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813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41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467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65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00457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5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950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872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680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313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997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178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216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6398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1583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99042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2176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2339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411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8890" imgH="8890" progId="TCLayout.ActiveDocument.1">
                  <p:embed/>
                </p:oleObj>
              </mc:Choice>
              <mc:Fallback>
                <p:oleObj name="think-cell Slide" r:id="rId4" imgW="8890" imgH="889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40" name="Picture 39" descr="A black and white text&#10;&#10;Description automatically generated"/>
          <p:cNvPicPr>
            <a:picLocks noChangeAspect="1"/>
          </p:cNvPicPr>
          <p:nvPr userDrawn="1"/>
        </p:nvPicPr>
        <p:blipFill>
          <a:blip r:embed="rId6">
            <a:alphaModFix amt="10000"/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  <a:noFill/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9" name="Graphic 11"/>
          <p:cNvPicPr>
            <a:picLocks noChangeAspect="1"/>
          </p:cNvPicPr>
          <p:nvPr userDrawn="1"/>
        </p:nvPicPr>
        <p:blipFill>
          <a:blip r:embed="rId7"/>
          <a:srcRect t="5" b="5"/>
          <a:stretch>
            <a:fillRect/>
          </a:stretch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2136492" y="2311742"/>
            <a:ext cx="6471489" cy="5232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85000"/>
              </a:lnSpc>
              <a:defRPr lang="en-US" sz="4400" dirty="0">
                <a:solidFill>
                  <a:srgbClr val="F5F3ED"/>
                </a:solidFill>
                <a:cs typeface="Times New Roman" panose="02020603050405020304" pitchFamily="18" charset="0"/>
              </a:defRPr>
            </a:lvl1pPr>
          </a:lstStyle>
          <a:p>
            <a:pPr marL="0" marR="0" lvl="0" indent="0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</a:pPr>
            <a:r>
              <a:rPr lang="en-US"/>
              <a:t>Presentation Titl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136492" y="3018065"/>
            <a:ext cx="6471489" cy="3385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2000" b="0" i="0" u="none" strike="noStrike" cap="none" spc="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9144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03A44"/>
              </a:buClr>
              <a:buSzTx/>
              <a:buFontTx/>
              <a:buNone/>
            </a:pPr>
            <a:r>
              <a:rPr lang="en-US"/>
              <a:t>Presentation subtitl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136118" y="5325302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Date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136118" y="4298276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Presenter Name 1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2136118" y="4529140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Presenter Name 2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2136118" y="4760003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Presenter Name 3</a:t>
            </a:r>
          </a:p>
        </p:txBody>
      </p:sp>
    </p:spTree>
    <p:extLst>
      <p:ext uri="{BB962C8B-B14F-4D97-AF65-F5344CB8AC3E}">
        <p14:creationId xmlns:p14="http://schemas.microsoft.com/office/powerpoint/2010/main" val="106502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. 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11117580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13440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. 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37210" y="1962967"/>
            <a:ext cx="1111758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11117580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45288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3721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400">
                <a:solidFill>
                  <a:srgbClr val="313A4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67073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. Section header box">
    <p:bg bwMode="grayWhite"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73316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Section header line">
    <p:bg bwMode="blackWhite"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37210" y="3826800"/>
            <a:ext cx="1111758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537210" y="3680016"/>
            <a:ext cx="1165799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13579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White one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3721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80716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362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highlight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5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6349590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90241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one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3721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8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17298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half">
    <p:bg bwMode="grayWhite"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3721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9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96245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two third">
    <p:bg bwMode="grayWhite"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3721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8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46918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Left arrow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3721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400" baseline="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95169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3721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4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05254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rrow one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53622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5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63710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rrow half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7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4766436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34213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5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7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4766436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8673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53094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rrow two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9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6349590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96215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4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5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6349590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05513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Big statement green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3826333"/>
            <a:ext cx="1111758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212629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. 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3721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3826333"/>
            <a:ext cx="1111758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7358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Quote">
    <p:bg>
      <p:bgPr>
        <a:solidFill>
          <a:srgbClr val="181D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>
            <a:fillRect/>
          </a:stretch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/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13A4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425173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11117580" cy="44238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sz="3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7"/>
          <p:cNvCxnSpPr/>
          <p:nvPr userDrawn="1"/>
        </p:nvCxnSpPr>
        <p:spPr>
          <a:xfrm>
            <a:off x="537210" y="6465243"/>
            <a:ext cx="11117580" cy="0"/>
          </a:xfrm>
          <a:prstGeom prst="line">
            <a:avLst/>
          </a:prstGeom>
          <a:noFill/>
          <a:ln w="9525" cap="flat" cmpd="sng" algn="ctr">
            <a:solidFill>
              <a:srgbClr val="E7C700"/>
            </a:solidFill>
            <a:prstDash val="solid"/>
          </a:ln>
          <a:effectLst/>
        </p:spPr>
      </p:cxnSp>
      <p:sp>
        <p:nvSpPr>
          <p:cNvPr id="14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72043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. 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52562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Blank green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99265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. 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30185"/>
            <a:ext cx="6632964" cy="3392129"/>
          </a:xfrm>
        </p:spPr>
        <p:txBody>
          <a:bodyPr anchor="ctr"/>
          <a:lstStyle>
            <a:lvl1pPr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 txBox="1"/>
          <p:nvPr/>
        </p:nvSpPr>
        <p:spPr>
          <a:xfrm>
            <a:off x="537210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2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79283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976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K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rcRect l="2" r="2"/>
          <a:stretch>
            <a:fillRect/>
          </a:stretch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13" name="TextBox 1"/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9200"/>
            <a:r>
              <a:rPr lang="en-US" sz="1400">
                <a:solidFill>
                  <a:srgbClr val="F5F3ED"/>
                </a:solidFill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288083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79447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93" name="Group 92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4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5" name="Straight Connector 94"/>
            <p:cNvCxnSpPr/>
            <p:nvPr/>
          </p:nvCxnSpPr>
          <p:spPr>
            <a:xfrm>
              <a:off x="-600" y="6228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-600" y="89083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-600" y="11588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-600" y="14269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-600" y="169493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-600" y="19629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-600" y="22543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-600" y="25458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-600" y="28372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>
              <a:off x="-600" y="31286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-600" y="34200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-600" y="37114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-600" y="40029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-600" y="42943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-600" y="45857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>
              <a:off x="-600" y="48771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>
              <a:off x="-600" y="51685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>
              <a:off x="-600" y="54600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>
              <a:off x="-600" y="57514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-600" y="604284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5" name="Gutter space"/>
            <p:cNvGrpSpPr/>
            <p:nvPr userDrawn="1"/>
          </p:nvGrpSpPr>
          <p:grpSpPr>
            <a:xfrm>
              <a:off x="1277000" y="623550"/>
              <a:ext cx="9638000" cy="5419291"/>
              <a:chOff x="1277000" y="623550"/>
              <a:chExt cx="9638000" cy="5537047"/>
            </a:xfrm>
          </p:grpSpPr>
          <p:sp>
            <p:nvSpPr>
              <p:cNvPr id="127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8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9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0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1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2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3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8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9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0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1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16" name="Slide edges"/>
            <p:cNvSpPr/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" name="Footnote measure"/>
            <p:cNvSpPr>
              <a:spLocks noChangeArrowheads="1"/>
            </p:cNvSpPr>
            <p:nvPr userDrawn="1"/>
          </p:nvSpPr>
          <p:spPr bwMode="auto">
            <a:xfrm>
              <a:off x="537209" y="6061299"/>
              <a:ext cx="1111758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" name="Whitespace measure"/>
            <p:cNvSpPr>
              <a:spLocks noChangeArrowheads="1"/>
            </p:cNvSpPr>
            <p:nvPr userDrawn="1"/>
          </p:nvSpPr>
          <p:spPr bwMode="auto">
            <a:xfrm>
              <a:off x="537209" y="1426900"/>
              <a:ext cx="11117580" cy="53606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19" name="Five column measure"/>
            <p:cNvGrpSpPr/>
            <p:nvPr userDrawn="1"/>
          </p:nvGrpSpPr>
          <p:grpSpPr>
            <a:xfrm>
              <a:off x="537209" y="5857366"/>
              <a:ext cx="11117580" cy="79536"/>
              <a:chOff x="629400" y="5975122"/>
              <a:chExt cx="10933200" cy="79536"/>
            </a:xfrm>
          </p:grpSpPr>
          <p:sp>
            <p:nvSpPr>
              <p:cNvPr id="122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3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4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5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6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20" name="Live area"/>
            <p:cNvSpPr/>
            <p:nvPr userDrawn="1"/>
          </p:nvSpPr>
          <p:spPr>
            <a:xfrm>
              <a:off x="537209" y="1962967"/>
              <a:ext cx="11117580" cy="4079874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" name="Footnote example"/>
            <p:cNvSpPr txBox="1"/>
            <p:nvPr userDrawn="1"/>
          </p:nvSpPr>
          <p:spPr>
            <a:xfrm>
              <a:off x="537210" y="60428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674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8890" imgH="8890" progId="TCLayout.ActiveDocument.1">
                  <p:embed/>
                </p:oleObj>
              </mc:Choice>
              <mc:Fallback>
                <p:oleObj name="think-cell Slide" r:id="rId4" imgW="8890" imgH="889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7" name="Picture 16" descr="A black and white text&#10;&#10;Description automatically generated"/>
          <p:cNvPicPr>
            <a:picLocks noChangeAspect="1"/>
          </p:cNvPicPr>
          <p:nvPr userDrawn="1"/>
        </p:nvPicPr>
        <p:blipFill>
          <a:blip r:embed="rId6">
            <a:alphaModFix amt="10000"/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  <a:noFill/>
        </p:spPr>
      </p:pic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Graphic 11"/>
          <p:cNvPicPr>
            <a:picLocks noChangeAspect="1"/>
          </p:cNvPicPr>
          <p:nvPr userDrawn="1"/>
        </p:nvPicPr>
        <p:blipFill>
          <a:blip r:embed="rId7"/>
          <a:srcRect t="5" b="5"/>
          <a:stretch>
            <a:fillRect/>
          </a:stretch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2136492" y="2311742"/>
            <a:ext cx="6471489" cy="5232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85000"/>
              </a:lnSpc>
              <a:defRPr lang="en-US" sz="4400" dirty="0">
                <a:solidFill>
                  <a:srgbClr val="F5F3ED"/>
                </a:solidFill>
                <a:cs typeface="Times New Roman" panose="02020603050405020304" pitchFamily="18" charset="0"/>
              </a:defRPr>
            </a:lvl1pPr>
          </a:lstStyle>
          <a:p>
            <a:pPr marL="0" marR="0" lvl="0" indent="0" defTabSz="91440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</a:pPr>
            <a:r>
              <a:rPr lang="en-US"/>
              <a:t>Presentation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136492" y="3018065"/>
            <a:ext cx="6471489" cy="3385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2000" b="0" i="0" u="none" strike="noStrike" cap="none" spc="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9144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03A44"/>
              </a:buClr>
              <a:buSzTx/>
              <a:buFontTx/>
              <a:buNone/>
            </a:pPr>
            <a:r>
              <a:rPr lang="en-US"/>
              <a:t>Presentation subtitl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136118" y="5325302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Date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136118" y="4298276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Presenter Name 1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2136118" y="4529140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Presenter Name 2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2136118" y="4760003"/>
            <a:ext cx="6472237" cy="18466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 kumimoji="0" lang="en-US" b="0" i="0" u="none" strike="noStrike" cap="none" spc="20" normalizeH="0" baseline="0" dirty="0">
                <a:ln>
                  <a:noFill/>
                </a:ln>
                <a:solidFill>
                  <a:srgbClr val="F5F3ED"/>
                </a:solidFill>
                <a:effectLst/>
                <a:uLnTx/>
                <a:uFillTx/>
                <a:latin typeface="Calibri Light" panose="020F0302020204030204"/>
                <a:cs typeface="Calibri" panose="020F0502020204030204" pitchFamily="34" charset="0"/>
              </a:defRPr>
            </a:lvl1pPr>
          </a:lstStyle>
          <a:p>
            <a:pPr marR="0" lvl="0" defTabSz="1219200" fontAlgn="auto">
              <a:lnSpc>
                <a:spcPct val="100000"/>
              </a:lnSpc>
              <a:spcBef>
                <a:spcPts val="0"/>
              </a:spcBef>
              <a:buClr>
                <a:srgbClr val="303A44"/>
              </a:buClr>
              <a:buSzTx/>
              <a:buFontTx/>
              <a:buNone/>
            </a:pPr>
            <a:r>
              <a:rPr lang="en-US"/>
              <a:t>Presenter Name 3</a:t>
            </a:r>
          </a:p>
        </p:txBody>
      </p:sp>
    </p:spTree>
    <p:extLst>
      <p:ext uri="{BB962C8B-B14F-4D97-AF65-F5344CB8AC3E}">
        <p14:creationId xmlns:p14="http://schemas.microsoft.com/office/powerpoint/2010/main" val="261572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0639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37210" y="1962967"/>
            <a:ext cx="1111758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11117580" cy="365760"/>
          </a:xfrm>
        </p:spPr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3642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3721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313A44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3721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80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42709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58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37210" y="3826800"/>
            <a:ext cx="1111758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537210" y="3680016"/>
            <a:ext cx="11651376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5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3721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53587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>
          <a:xfrm>
            <a:off x="537211" y="535517"/>
            <a:ext cx="6369319" cy="365760"/>
          </a:xfrm>
        </p:spPr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8029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7" name="Title 3"/>
          <p:cNvSpPr>
            <a:spLocks noGrp="1"/>
          </p:cNvSpPr>
          <p:nvPr>
            <p:ph type="title" hasCustomPrompt="1"/>
          </p:nvPr>
        </p:nvSpPr>
        <p:spPr>
          <a:xfrm>
            <a:off x="537211" y="535517"/>
            <a:ext cx="8194375" cy="365760"/>
          </a:xfrm>
        </p:spPr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55211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673646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712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3721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16614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3721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9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00508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37210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8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18095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3721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85659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3721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74190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313A4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24983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05120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4840612" cy="365760"/>
          </a:xfrm>
        </p:spPr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53663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4840612" cy="365760"/>
          </a:xfrm>
        </p:spPr>
        <p:txBody>
          <a:bodyPr vert="horz"/>
          <a:lstStyle>
            <a:lvl1pPr>
              <a:lnSpc>
                <a:spcPct val="100000"/>
              </a:lnSpc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53687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8" name="Title 3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6347286" cy="365760"/>
          </a:xfrm>
        </p:spPr>
        <p:txBody>
          <a:bodyPr vert="horz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38344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673646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6819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313A44"/>
              </a:gs>
              <a:gs pos="100000">
                <a:srgbClr val="3C3C3C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6347286" cy="365760"/>
          </a:xfrm>
        </p:spPr>
        <p:txBody>
          <a:bodyPr vert="horz"/>
          <a:lstStyle>
            <a:lvl1pPr>
              <a:lnSpc>
                <a:spcPct val="100000"/>
              </a:lnSpc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1811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3826333"/>
            <a:ext cx="1111758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394578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3721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7210" y="3826333"/>
            <a:ext cx="1111758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2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81D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>
            <a:fillRect/>
          </a:stretch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/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13A4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22493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537210" y="535517"/>
            <a:ext cx="11117580" cy="365760"/>
          </a:xfrm>
        </p:spPr>
        <p:txBody>
          <a:bodyPr vert="horz"/>
          <a:lstStyle>
            <a:lvl1pPr>
              <a:lnSpc>
                <a:spcPct val="100000"/>
              </a:lnSpc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7"/>
          <p:cNvCxnSpPr/>
          <p:nvPr userDrawn="1"/>
        </p:nvCxnSpPr>
        <p:spPr>
          <a:xfrm>
            <a:off x="537210" y="6465243"/>
            <a:ext cx="11117580" cy="0"/>
          </a:xfrm>
          <a:prstGeom prst="line">
            <a:avLst/>
          </a:prstGeom>
          <a:noFill/>
          <a:ln w="9525" cap="flat" cmpd="sng" algn="ctr">
            <a:solidFill>
              <a:srgbClr val="E7C700"/>
            </a:solidFill>
            <a:prstDash val="solid"/>
          </a:ln>
          <a:effectLst/>
        </p:spPr>
      </p:cxnSp>
      <p:sp>
        <p:nvSpPr>
          <p:cNvPr id="14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2989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721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313A44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365398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410210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12882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30185"/>
            <a:ext cx="6632964" cy="3392129"/>
          </a:xfrm>
        </p:spPr>
        <p:txBody>
          <a:bodyPr anchor="ctr"/>
          <a:lstStyle>
            <a:lvl1pPr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6"/>
          <p:cNvSpPr txBox="1"/>
          <p:nvPr userDrawn="1"/>
        </p:nvSpPr>
        <p:spPr>
          <a:xfrm>
            <a:off x="537210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2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379283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837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/>
          <a:srcRect l="2" r="2"/>
          <a:stretch>
            <a:fillRect/>
          </a:stretch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12" name="TextBox 1"/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1219200"/>
            <a:r>
              <a:rPr lang="en-US" sz="1400">
                <a:solidFill>
                  <a:srgbClr val="F5F3ED"/>
                </a:solidFill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210438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2846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0" name="Straight Connector 169"/>
            <p:cNvCxnSpPr/>
            <p:nvPr/>
          </p:nvCxnSpPr>
          <p:spPr>
            <a:xfrm>
              <a:off x="-600" y="6228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>
              <a:off x="-600" y="89083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/>
          </p:nvCxnSpPr>
          <p:spPr>
            <a:xfrm>
              <a:off x="-600" y="11588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>
              <a:off x="-600" y="14269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>
              <a:off x="-600" y="169493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>
              <a:off x="-600" y="19629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/>
          </p:nvCxnSpPr>
          <p:spPr>
            <a:xfrm>
              <a:off x="-600" y="22543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>
              <a:off x="-600" y="25458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>
              <a:off x="-600" y="28372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>
              <a:off x="-600" y="31286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/>
          </p:nvCxnSpPr>
          <p:spPr>
            <a:xfrm>
              <a:off x="-600" y="34200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>
              <a:off x="-600" y="37114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>
              <a:off x="-600" y="40029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>
              <a:off x="-600" y="42943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>
              <a:off x="-600" y="458574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>
              <a:off x="-600" y="487716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/>
          </p:nvCxnSpPr>
          <p:spPr>
            <a:xfrm>
              <a:off x="-600" y="51685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>
              <a:off x="-600" y="546000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>
              <a:off x="-600" y="57514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/>
          </p:nvCxnSpPr>
          <p:spPr>
            <a:xfrm>
              <a:off x="-600" y="604284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419291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/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 userDrawn="1"/>
          </p:nvSpPr>
          <p:spPr bwMode="auto">
            <a:xfrm>
              <a:off x="537209" y="6061299"/>
              <a:ext cx="1111758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 userDrawn="1"/>
          </p:nvSpPr>
          <p:spPr bwMode="auto">
            <a:xfrm>
              <a:off x="537209" y="1426900"/>
              <a:ext cx="11117580" cy="53606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537209" y="5857366"/>
              <a:ext cx="1111758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 userDrawn="1"/>
          </p:nvSpPr>
          <p:spPr>
            <a:xfrm>
              <a:off x="537209" y="1962967"/>
              <a:ext cx="11117580" cy="4079874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 userDrawn="1"/>
          </p:nvSpPr>
          <p:spPr>
            <a:xfrm>
              <a:off x="537210" y="60428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216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genda Section Header Overview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51627" y="1115416"/>
            <a:ext cx="240482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06953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genda Section Header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225910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genda Full Width Overview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/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351611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. Agenda Two-Thirds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8019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37210" y="3192897"/>
            <a:ext cx="1547143" cy="4708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1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259915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51627" y="1115416"/>
            <a:ext cx="240482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2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0969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66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/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71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37210" y="3234447"/>
            <a:ext cx="1161047" cy="3877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376876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313A44"/>
            </a:gs>
            <a:gs pos="100000">
              <a:srgbClr val="3C3C3C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721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409007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97325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Title Slide - Logo Frame, Saffron background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white text&#10;&#10;Description automatically generated"/>
          <p:cNvPicPr>
            <a:picLocks noChangeAspect="1"/>
          </p:cNvPicPr>
          <p:nvPr userDrawn="1"/>
        </p:nvPicPr>
        <p:blipFill>
          <a:blip r:embed="rId2">
            <a:alphaModFix amt="32000"/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</p:spPr>
      </p:pic>
      <p:pic>
        <p:nvPicPr>
          <p:cNvPr id="12" name="Graphic 11"/>
          <p:cNvPicPr>
            <a:picLocks noChangeAspect="1"/>
          </p:cNvPicPr>
          <p:nvPr userDrawn="1"/>
        </p:nvPicPr>
        <p:blipFill rotWithShape="1">
          <a:blip r:embed="rId3"/>
          <a:srcRect/>
          <a:stretch>
            <a:fillRect/>
          </a:stretch>
        </p:blipFill>
        <p:spPr>
          <a:xfrm>
            <a:off x="2121803" y="6050784"/>
            <a:ext cx="2641786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0" i="0" cap="none" baseline="0">
                <a:solidFill>
                  <a:srgbClr val="303A44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 sz="2000" b="0" i="0" baseline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1pPr>
            <a:lvl2pPr marL="1905" indent="0">
              <a:lnSpc>
                <a:spcPts val="2265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3pPr>
            <a:lvl4pPr marL="1905" indent="0">
              <a:lnSpc>
                <a:spcPts val="2265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92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rgbClr val="FFFFFF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2794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Title Slide - Logo Frame, Slate">
    <p:bg>
      <p:bgPr>
        <a:solidFill>
          <a:srgbClr val="303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white text&#10;&#10;Description automatically generated"/>
          <p:cNvPicPr>
            <a:picLocks noChangeAspect="1"/>
          </p:cNvPicPr>
          <p:nvPr userDrawn="1"/>
        </p:nvPicPr>
        <p:blipFill>
          <a:blip r:embed="rId2">
            <a:alphaModFix amt="10000"/>
          </a:blip>
          <a:srcRect/>
          <a:stretch>
            <a:fillRect/>
          </a:stretch>
        </p:blipFill>
        <p:spPr>
          <a:xfrm>
            <a:off x="0" y="0"/>
            <a:ext cx="12191048" cy="6877049"/>
          </a:xfrm>
          <a:prstGeom prst="rect">
            <a:avLst/>
          </a:prstGeom>
          <a:noFill/>
        </p:spPr>
      </p:pic>
      <p:pic>
        <p:nvPicPr>
          <p:cNvPr id="12" name="Graphic 11"/>
          <p:cNvPicPr>
            <a:picLocks noChangeAspect="1"/>
          </p:cNvPicPr>
          <p:nvPr userDrawn="1"/>
        </p:nvPicPr>
        <p:blipFill>
          <a:blip r:embed="rId3"/>
          <a:srcRect t="5" b="5"/>
          <a:stretch>
            <a:fillRect/>
          </a:stretch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0" i="0" cap="none" baseline="0">
                <a:solidFill>
                  <a:srgbClr val="F5F3ED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 sz="2000" b="0" i="0" baseline="0">
                <a:solidFill>
                  <a:srgbClr val="F5F3ED"/>
                </a:solidFill>
                <a:latin typeface="+mn-lt"/>
                <a:cs typeface="Calibri" panose="020F050202020403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F5F3ED"/>
                </a:solidFill>
                <a:latin typeface="+mn-lt"/>
                <a:cs typeface="Calibri" panose="020F0502020204030204" pitchFamily="34" charset="0"/>
              </a:defRPr>
            </a:lvl1pPr>
            <a:lvl2pPr marL="1905" indent="0">
              <a:lnSpc>
                <a:spcPts val="2265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F5F3ED"/>
                </a:solidFill>
                <a:latin typeface="+mn-lt"/>
                <a:cs typeface="Calibri" panose="020F0502020204030204" pitchFamily="34" charset="0"/>
              </a:defRPr>
            </a:lvl3pPr>
            <a:lvl4pPr marL="1905" indent="0">
              <a:lnSpc>
                <a:spcPts val="2265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F5F3ED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92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16505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Title Slide - Logo Frame, Parchment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" r="12"/>
          <a:stretch>
            <a:fillRect/>
          </a:stretch>
        </p:blipFill>
        <p:spPr>
          <a:xfrm>
            <a:off x="0" y="0"/>
            <a:ext cx="12189144" cy="6877049"/>
          </a:xfrm>
          <a:prstGeom prst="rect">
            <a:avLst/>
          </a:prstGeom>
        </p:spPr>
      </p:pic>
      <p:pic>
        <p:nvPicPr>
          <p:cNvPr id="12" name="Graphic 11"/>
          <p:cNvPicPr>
            <a:picLocks noChangeAspect="1"/>
          </p:cNvPicPr>
          <p:nvPr userDrawn="1"/>
        </p:nvPicPr>
        <p:blipFill rotWithShape="1">
          <a:blip r:embed="rId3"/>
          <a:srcRect r="5"/>
          <a:stretch>
            <a:fillRect/>
          </a:stretch>
        </p:blipFill>
        <p:spPr>
          <a:xfrm>
            <a:off x="2121803" y="6050784"/>
            <a:ext cx="2641654" cy="2931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2311742"/>
            <a:ext cx="6471489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0" i="0" cap="none" baseline="0">
                <a:solidFill>
                  <a:srgbClr val="303A44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3018065"/>
            <a:ext cx="6471489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 sz="2000" b="0" i="0" baseline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4216830"/>
            <a:ext cx="648107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1pPr>
            <a:lvl2pPr marL="1905" indent="0">
              <a:lnSpc>
                <a:spcPts val="2265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3pPr>
            <a:lvl4pPr marL="1905" indent="0">
              <a:lnSpc>
                <a:spcPts val="2265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131171" y="5325302"/>
            <a:ext cx="6472237" cy="184666"/>
          </a:xfrm>
        </p:spPr>
        <p:txBody>
          <a:bodyPr anchor="ctr"/>
          <a:lstStyle>
            <a:lvl1pPr marL="0" algn="l" defTabSz="12192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kern="1200" spc="20" baseline="0" dirty="0" smtClean="0">
                <a:solidFill>
                  <a:srgbClr val="FFFFFF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6811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Title Slide - Text Only, Saffron background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1732902"/>
            <a:ext cx="8000274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0" i="0" cap="none" baseline="0">
                <a:solidFill>
                  <a:srgbClr val="303A44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2439225"/>
            <a:ext cx="8000274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 sz="2400" b="0" i="0" baseline="0">
                <a:solidFill>
                  <a:srgbClr val="303A44"/>
                </a:solidFill>
                <a:latin typeface="+mn-lt"/>
                <a:cs typeface="Calibri" panose="020F050202020403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1212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1pPr>
            <a:lvl2pPr marL="1905" indent="0">
              <a:lnSpc>
                <a:spcPts val="2265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3pPr>
            <a:lvl4pPr marL="1905" indent="0">
              <a:lnSpc>
                <a:spcPts val="2265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99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Title Slide - Text Only, Slate">
    <p:bg>
      <p:bgPr>
        <a:solidFill>
          <a:srgbClr val="303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9" y="1732902"/>
            <a:ext cx="8063336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0" i="0" cap="none" baseline="0">
                <a:solidFill>
                  <a:srgbClr val="F5F3ED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9" y="2439225"/>
            <a:ext cx="8063336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 sz="2400" b="0" i="0" baseline="0">
                <a:solidFill>
                  <a:srgbClr val="F5F3ED"/>
                </a:solidFill>
                <a:latin typeface="+mn-lt"/>
                <a:cs typeface="Calibri" panose="020F050202020403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72927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FFFFFF"/>
                </a:solidFill>
                <a:latin typeface="+mn-lt"/>
                <a:cs typeface="Calibri" panose="020F0502020204030204" pitchFamily="34" charset="0"/>
              </a:defRPr>
            </a:lvl1pPr>
            <a:lvl2pPr marL="1905" indent="0">
              <a:lnSpc>
                <a:spcPts val="2265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FFFFFF"/>
                </a:solidFill>
                <a:latin typeface="+mn-lt"/>
                <a:cs typeface="Calibri" panose="020F0502020204030204" pitchFamily="34" charset="0"/>
              </a:defRPr>
            </a:lvl3pPr>
            <a:lvl4pPr marL="1905" indent="0">
              <a:lnSpc>
                <a:spcPts val="2265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FFFFFF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rcRect l="2" r="2"/>
          <a:stretch>
            <a:fillRect/>
          </a:stretch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3902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Title Slide - Text Only, Parchment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9438289" y="272657"/>
            <a:ext cx="2444149" cy="158267"/>
          </a:xfrm>
        </p:spPr>
        <p:txBody>
          <a:bodyPr tIns="0" bIns="0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1698" y="1732902"/>
            <a:ext cx="8000274" cy="52322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0" i="0" cap="none" baseline="0">
                <a:solidFill>
                  <a:srgbClr val="303A44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1288" y="2439225"/>
            <a:ext cx="8000274" cy="33855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 sz="2400" b="0" i="0" baseline="0">
                <a:solidFill>
                  <a:srgbClr val="303A44"/>
                </a:solidFill>
                <a:latin typeface="+mn-lt"/>
                <a:cs typeface="Calibri" panose="020F050202020403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31698" y="3637990"/>
            <a:ext cx="8012129" cy="73000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1pPr>
            <a:lvl2pPr marL="1905" indent="0">
              <a:lnSpc>
                <a:spcPts val="2265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3pPr>
            <a:lvl4pPr marL="1905" indent="0">
              <a:lnSpc>
                <a:spcPts val="2265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1905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>
                <a:solidFill>
                  <a:srgbClr val="000000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89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Section Divider, Slate">
    <p:bg>
      <p:bgPr>
        <a:solidFill>
          <a:srgbClr val="303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0" b="0" cap="none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17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Section Divider, Parchment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0" b="0" cap="none" baseline="0">
                <a:solidFill>
                  <a:srgbClr val="303A44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60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Section Divider, Saffron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0" b="0" cap="none" baseline="0">
                <a:solidFill>
                  <a:srgbClr val="303A44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413588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Section Divider, Light Turqoise">
    <p:bg>
      <p:bgPr>
        <a:solidFill>
          <a:srgbClr val="B0E9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0" b="0" cap="none" baseline="0">
                <a:solidFill>
                  <a:srgbClr val="303A44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3436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/>
          <p:nvPr>
            <p:custDataLst>
              <p:tags r:id="rId1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Gates-logo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257939" y="1"/>
            <a:ext cx="2266406" cy="2266406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655412" y="5322674"/>
            <a:ext cx="10846197" cy="760868"/>
          </a:xfrm>
        </p:spPr>
        <p:txBody>
          <a:bodyPr/>
          <a:lstStyle>
            <a:lvl1pPr marL="1905" marR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>
                <a:solidFill>
                  <a:schemeClr val="accent5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1905" marR="0" lvl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panose="020B0604020202020204"/>
              </a:rPr>
              <a:t>Presenters (Arial 12 pt, gray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412" y="4755746"/>
            <a:ext cx="10868934" cy="274636"/>
          </a:xfrm>
        </p:spPr>
        <p:txBody>
          <a:bodyPr anchor="ctr"/>
          <a:lstStyle>
            <a:lvl1pPr marL="0" marR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defRPr>
                <a:solidFill>
                  <a:schemeClr val="accent5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(Arial 12 pt, gray)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V="1">
            <a:off x="655411" y="4337432"/>
            <a:ext cx="10846198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12" y="3671232"/>
            <a:ext cx="10868934" cy="440163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+mn-lt"/>
                <a:cs typeface="Arial" panose="020B0604020202020204"/>
              </a:defRPr>
            </a:lvl1pPr>
          </a:lstStyle>
          <a:p>
            <a:pPr marR="0" lvl="0" defTabSz="8890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/>
              <a:t>Subtitle in Title Case (Arial 14 </a:t>
            </a:r>
            <a:r>
              <a:rPr lang="en-US" err="1"/>
              <a:t>pt</a:t>
            </a:r>
            <a:r>
              <a:rPr lang="en-US"/>
              <a:t>, Red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55411" y="2883500"/>
            <a:ext cx="10868933" cy="699363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/>
              <a:t>Title in Title Case (Arial 24 </a:t>
            </a:r>
            <a:r>
              <a:rPr lang="en-US" err="1"/>
              <a:t>pt</a:t>
            </a:r>
            <a:r>
              <a:rPr lang="en-US"/>
              <a:t>, Black)</a:t>
            </a:r>
          </a:p>
        </p:txBody>
      </p:sp>
    </p:spTree>
    <p:extLst>
      <p:ext uri="{BB962C8B-B14F-4D97-AF65-F5344CB8AC3E}">
        <p14:creationId xmlns:p14="http://schemas.microsoft.com/office/powerpoint/2010/main" val="16170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82500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Section Divider, Orange">
    <p:bg>
      <p:bgPr>
        <a:solidFill>
          <a:srgbClr val="F85C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0" b="0" cap="none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355993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Section Divider, Dark Blue">
    <p:bg>
      <p:bgPr>
        <a:solidFill>
          <a:srgbClr val="0444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502229" y="139772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417905" y="2998988"/>
            <a:ext cx="7353017" cy="553998"/>
          </a:xfrm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3600" b="0" cap="none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Section Divider: Section Name</a:t>
            </a:r>
          </a:p>
        </p:txBody>
      </p:sp>
    </p:spTree>
    <p:extLst>
      <p:ext uri="{BB962C8B-B14F-4D97-AF65-F5344CB8AC3E}">
        <p14:creationId xmlns:p14="http://schemas.microsoft.com/office/powerpoint/2010/main" val="218802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Quote slide - Slate">
    <p:bg>
      <p:bgPr>
        <a:solidFill>
          <a:srgbClr val="303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rgbClr val="F5F3ED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rgbClr val="F5F3ED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365413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Quote slide - Saffron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rgbClr val="303A44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237944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Quote slide - Parchment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533400" y="5129211"/>
            <a:ext cx="8352183" cy="711023"/>
          </a:xfrm>
        </p:spPr>
        <p:txBody>
          <a:bodyPr tIns="0" bIns="0" anchor="t" anchorCtr="0">
            <a:noAutofit/>
          </a:bodyPr>
          <a:lstStyle>
            <a:lvl1pPr>
              <a:lnSpc>
                <a:spcPct val="100000"/>
              </a:lnSpc>
              <a:defRPr lang="en-US" sz="1800" b="0" i="0" kern="1200" baseline="0" dirty="0" smtClean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7000">
                <a:solidFill>
                  <a:schemeClr val="bg1"/>
                </a:solidFill>
                <a:latin typeface="+mj-lt"/>
              </a:defRPr>
            </a:lvl2pPr>
            <a:lvl3pPr>
              <a:defRPr sz="7000">
                <a:solidFill>
                  <a:schemeClr val="bg1"/>
                </a:solidFill>
                <a:latin typeface="+mj-lt"/>
              </a:defRPr>
            </a:lvl3pPr>
            <a:lvl4pPr>
              <a:defRPr sz="7000">
                <a:solidFill>
                  <a:schemeClr val="bg1"/>
                </a:solidFill>
                <a:latin typeface="+mj-lt"/>
              </a:defRPr>
            </a:lvl4pPr>
            <a:lvl5pPr>
              <a:defRPr sz="7000">
                <a:solidFill>
                  <a:schemeClr val="bg1"/>
                </a:solidFill>
                <a:latin typeface="+mj-lt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Tx/>
              <a:buNone/>
            </a:pPr>
            <a:r>
              <a:rPr lang="en-US"/>
              <a:t>—Attribution or sourc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3214688" y="37433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097157" y="-32799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33400" y="628650"/>
            <a:ext cx="8352183" cy="4129088"/>
          </a:xfrm>
        </p:spPr>
        <p:txBody>
          <a:bodyPr wrap="square" anchor="ctr"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rgbClr val="303A44"/>
                </a:solidFill>
                <a:latin typeface="+mj-lt"/>
              </a:defRPr>
            </a:lvl1pPr>
            <a:lvl2pPr>
              <a:defRPr sz="7200">
                <a:solidFill>
                  <a:schemeClr val="tx2"/>
                </a:solidFill>
                <a:latin typeface="+mj-lt"/>
              </a:defRPr>
            </a:lvl2pPr>
            <a:lvl3pPr>
              <a:defRPr sz="7200">
                <a:solidFill>
                  <a:schemeClr val="tx2"/>
                </a:solidFill>
                <a:latin typeface="+mj-lt"/>
              </a:defRPr>
            </a:lvl3pPr>
            <a:lvl4pPr>
              <a:defRPr sz="7200">
                <a:solidFill>
                  <a:schemeClr val="tx2"/>
                </a:solidFill>
                <a:latin typeface="+mj-lt"/>
              </a:defRPr>
            </a:lvl4pPr>
            <a:lvl5pPr>
              <a:defRPr sz="72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Quote or fact statement.</a:t>
            </a:r>
          </a:p>
          <a:p>
            <a:pPr lvl="0"/>
            <a:r>
              <a:rPr lang="en-US"/>
              <a:t>Can also be used as </a:t>
            </a:r>
            <a:br>
              <a:rPr lang="en-US"/>
            </a:br>
            <a:r>
              <a:rPr lang="en-US"/>
              <a:t>a divider slide.</a:t>
            </a:r>
          </a:p>
        </p:txBody>
      </p:sp>
    </p:spTree>
    <p:extLst>
      <p:ext uri="{BB962C8B-B14F-4D97-AF65-F5344CB8AC3E}">
        <p14:creationId xmlns:p14="http://schemas.microsoft.com/office/powerpoint/2010/main" val="354358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Standard Slide -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Standard slide – white background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450" indent="-171450">
              <a:spcBef>
                <a:spcPts val="335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5"/>
              </a:spcBef>
              <a:buClr>
                <a:srgbClr val="3086AB"/>
              </a:buClr>
              <a:buFont typeface="Arial" panose="020B0604020202020204" pitchFamily="34" charset="0"/>
              <a:buChar char="•"/>
              <a:defRPr baseline="0"/>
            </a:lvl3pPr>
            <a:lvl4pPr marL="516255" indent="-173355">
              <a:spcBef>
                <a:spcPts val="335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7705" indent="-171450">
              <a:spcBef>
                <a:spcPts val="335"/>
              </a:spcBef>
              <a:defRPr baseline="0"/>
            </a:lvl5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9CE5998-F8B0-A840-89AA-28D161AE06A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08403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Standard Slide - Parchment Background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Standard slide – parchment background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450" indent="-171450">
              <a:spcBef>
                <a:spcPts val="335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5"/>
              </a:spcBef>
              <a:buClr>
                <a:srgbClr val="3086AB"/>
              </a:buClr>
              <a:buFont typeface="Arial" panose="020B0604020202020204" pitchFamily="34" charset="0"/>
              <a:buChar char="•"/>
              <a:defRPr baseline="0"/>
            </a:lvl3pPr>
            <a:lvl4pPr marL="516255" indent="-173355">
              <a:spcBef>
                <a:spcPts val="335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7705" indent="-171450">
              <a:spcBef>
                <a:spcPts val="335"/>
              </a:spcBef>
              <a:defRPr baseline="0"/>
            </a:lvl5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9CE5998-F8B0-A840-89AA-28D161AE06A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21548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Basic Text Slide - Slate">
    <p:bg>
      <p:bgPr>
        <a:solidFill>
          <a:srgbClr val="303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F5F3ED"/>
                </a:solidFill>
              </a:defRPr>
            </a:lvl1pPr>
          </a:lstStyle>
          <a:p>
            <a:r>
              <a:rPr lang="en-US"/>
              <a:t>Basic text slide – slate background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F5F3ED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D9174E-463E-5F46-AFCF-E36D8E9AF966}" type="datetime3">
              <a:rPr lang="en-GB" smtClean="0"/>
              <a:t>2 October, 2025</a:t>
            </a:fld>
            <a:endParaRPr lang="en-GB"/>
          </a:p>
        </p:txBody>
      </p:sp>
      <p:sp>
        <p:nvSpPr>
          <p:cNvPr id="1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20438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defRPr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olidFill>
                  <a:srgbClr val="FFFFFF"/>
                </a:solidFill>
                <a:sym typeface="Trebuchet MS" panose="020B0603020202020204" pitchFamily="34" charset="0"/>
              </a:rPr>
              <a:t>‹#›</a:t>
            </a:fld>
            <a:endParaRPr lang="en-US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8232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Basic Text Slide - Parchment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Basic text slide – parchment background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C92EC4D-7FB8-6444-9B47-C6CAB9319D7D}" type="datetime3">
              <a:rPr lang="en-GB" smtClean="0"/>
              <a:t>2 October, 2025</a:t>
            </a:fld>
            <a:endParaRPr lang="en-GB"/>
          </a:p>
        </p:txBody>
      </p:sp>
      <p:sp>
        <p:nvSpPr>
          <p:cNvPr id="1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42457" y="1585029"/>
            <a:ext cx="11112303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lnSpc>
                <a:spcPct val="114000"/>
              </a:lnSpc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53368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Basic Text Slide -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Basic text slide – white background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171450" indent="-171450">
              <a:spcBef>
                <a:spcPts val="335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5"/>
              </a:spcBef>
              <a:buClr>
                <a:srgbClr val="3086AB"/>
              </a:buClr>
              <a:buFont typeface="Arial" panose="020B0604020202020204" pitchFamily="34" charset="0"/>
              <a:buChar char="•"/>
              <a:defRPr baseline="0"/>
            </a:lvl3pPr>
            <a:lvl4pPr marL="516255" indent="-173355">
              <a:spcBef>
                <a:spcPts val="335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7705" indent="-171450">
              <a:spcBef>
                <a:spcPts val="335"/>
              </a:spcBef>
              <a:defRPr baseline="0"/>
            </a:lvl5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0030"/>
            <a:ext cx="11119274" cy="20819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8" name="Date Placeholder 4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05E90DF-A85F-8E4E-BC8E-531A51B85A8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5" y="1562099"/>
            <a:ext cx="11118850" cy="464907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78787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33772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Blank slide -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15285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Blank slide - parchment">
    <p:bg>
      <p:bgPr>
        <a:solidFill>
          <a:srgbClr val="F5F3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67884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or graphic - 2 col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or graphic - 2 columns + header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2" hasCustomPrompt="1"/>
          </p:nvPr>
        </p:nvSpPr>
        <p:spPr>
          <a:xfrm>
            <a:off x="534221" y="1641186"/>
            <a:ext cx="5439928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rgbClr val="303A44"/>
                </a:solidFill>
              </a:defRPr>
            </a:lvl1pPr>
          </a:lstStyle>
          <a:p>
            <a:pPr marL="171450" lvl="0" indent="-171450"/>
            <a:r>
              <a:rPr lang="en-US"/>
              <a:t>Header 1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sz="quarter" idx="4" hasCustomPrompt="1"/>
          </p:nvPr>
        </p:nvSpPr>
        <p:spPr>
          <a:xfrm>
            <a:off x="534220" y="2244720"/>
            <a:ext cx="5447479" cy="3889379"/>
          </a:xfrm>
          <a:prstGeom prst="rect">
            <a:avLst/>
          </a:prstGeom>
          <a:solidFill>
            <a:srgbClr val="F5F3ED"/>
          </a:solidFill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3" hasCustomPrompt="1"/>
          </p:nvPr>
        </p:nvSpPr>
        <p:spPr>
          <a:xfrm>
            <a:off x="6286359" y="1641186"/>
            <a:ext cx="5368926" cy="2769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rgbClr val="303A44"/>
                </a:solidFill>
              </a:defRPr>
            </a:lvl1pPr>
          </a:lstStyle>
          <a:p>
            <a:pPr marL="171450" lvl="0" indent="-171450"/>
            <a:r>
              <a:rPr lang="en-US"/>
              <a:t>Header 2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sz="quarter" idx="5" hasCustomPrompt="1"/>
          </p:nvPr>
        </p:nvSpPr>
        <p:spPr>
          <a:xfrm>
            <a:off x="6287039" y="2244720"/>
            <a:ext cx="5376378" cy="3889379"/>
          </a:xfrm>
          <a:prstGeom prst="rect">
            <a:avLst/>
          </a:prstGeom>
          <a:solidFill>
            <a:srgbClr val="F5F3ED"/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2" name="Date Placeholder 8"/>
          <p:cNvSpPr>
            <a:spLocks noGrp="1"/>
          </p:cNvSpPr>
          <p:nvPr>
            <p:ph type="dt" sz="half" idx="7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3A97348-D29C-3C40-912C-F73B04E68B6D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0" name="Footer Placeholder 9"/>
          <p:cNvSpPr>
            <a:spLocks noGrp="1"/>
          </p:cNvSpPr>
          <p:nvPr>
            <p:ph type="ftr" sz="quarter" idx="8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4" name="Straight Connector 11"/>
          <p:cNvCxnSpPr/>
          <p:nvPr userDrawn="1"/>
        </p:nvCxnSpPr>
        <p:spPr>
          <a:xfrm>
            <a:off x="534221" y="1570338"/>
            <a:ext cx="5439928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2"/>
          <p:cNvCxnSpPr/>
          <p:nvPr userDrawn="1"/>
        </p:nvCxnSpPr>
        <p:spPr>
          <a:xfrm>
            <a:off x="6290246" y="1570338"/>
            <a:ext cx="5367532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18819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or graphic - 2 col, n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2457" y="530943"/>
            <a:ext cx="11120967" cy="3657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or graphic - 2 columns, no header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sz="quarter" idx="4" hasCustomPrompt="1"/>
          </p:nvPr>
        </p:nvSpPr>
        <p:spPr>
          <a:xfrm>
            <a:off x="534220" y="1782147"/>
            <a:ext cx="5447479" cy="4351953"/>
          </a:xfrm>
          <a:prstGeom prst="rect">
            <a:avLst/>
          </a:prstGeom>
          <a:noFill/>
        </p:spPr>
        <p:txBody>
          <a:bodyPr vert="horz" lIns="137160" tIns="137160" rIns="0" bIns="1371600" rtlCol="0" anchor="ctr">
            <a:noAutofit/>
          </a:bodyPr>
          <a:lstStyle>
            <a:lvl1pPr algn="ctr"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sz="quarter" idx="5" hasCustomPrompt="1"/>
          </p:nvPr>
        </p:nvSpPr>
        <p:spPr>
          <a:xfrm>
            <a:off x="6248400" y="1782147"/>
            <a:ext cx="5415017" cy="4351953"/>
          </a:xfrm>
          <a:prstGeom prst="rect">
            <a:avLst/>
          </a:prstGeom>
          <a:noFill/>
        </p:spPr>
        <p:txBody>
          <a:bodyPr vert="horz" lIns="137160" tIns="137160" rIns="0" bIns="1371600" rtlCol="0" anchor="ctr">
            <a:noAutofit/>
          </a:bodyPr>
          <a:lstStyle>
            <a:lvl1pPr algn="ctr"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ctr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2" name="Date Placeholder 8"/>
          <p:cNvSpPr>
            <a:spLocks noGrp="1"/>
          </p:cNvSpPr>
          <p:nvPr>
            <p:ph type="dt" sz="half" idx="7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C37ADF3-A856-DB40-90F0-BD1B78D75ADE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0" name="Footer Placeholder 9"/>
          <p:cNvSpPr>
            <a:spLocks noGrp="1"/>
          </p:cNvSpPr>
          <p:nvPr>
            <p:ph type="ftr" sz="quarter" idx="8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0548594" y="-1036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1994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or graphic - 3 Col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or graphic - 3 columns + header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2" hasCustomPrompt="1"/>
          </p:nvPr>
        </p:nvSpPr>
        <p:spPr>
          <a:xfrm>
            <a:off x="533539" y="1641185"/>
            <a:ext cx="3505220" cy="32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0"/>
              </a:spcAft>
              <a:buNone/>
              <a:defRPr lang="en-US" b="1" baseline="0" dirty="0">
                <a:solidFill>
                  <a:srgbClr val="303A44"/>
                </a:solidFill>
              </a:defRPr>
            </a:lvl1pPr>
          </a:lstStyle>
          <a:p>
            <a:pPr marL="171450" lvl="0" indent="-171450"/>
            <a:r>
              <a:rPr lang="en-US"/>
              <a:t>Header 1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sz="quarter" idx="5" hasCustomPrompt="1"/>
          </p:nvPr>
        </p:nvSpPr>
        <p:spPr>
          <a:xfrm>
            <a:off x="533539" y="2244720"/>
            <a:ext cx="3504524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3" hasCustomPrompt="1"/>
          </p:nvPr>
        </p:nvSpPr>
        <p:spPr>
          <a:xfrm>
            <a:off x="4344186" y="1641185"/>
            <a:ext cx="3504524" cy="3229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sz="quarter" idx="6" hasCustomPrompt="1"/>
          </p:nvPr>
        </p:nvSpPr>
        <p:spPr>
          <a:xfrm>
            <a:off x="4343804" y="2244720"/>
            <a:ext cx="3504524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4" hasCustomPrompt="1"/>
          </p:nvPr>
        </p:nvSpPr>
        <p:spPr>
          <a:xfrm>
            <a:off x="8153838" y="1641185"/>
            <a:ext cx="3512407" cy="31960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sz="quarter" idx="7" hasCustomPrompt="1"/>
          </p:nvPr>
        </p:nvSpPr>
        <p:spPr>
          <a:xfrm>
            <a:off x="8153936" y="2244720"/>
            <a:ext cx="3507796" cy="3889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7" name="Date Placeholder 10"/>
          <p:cNvSpPr>
            <a:spLocks noGrp="1"/>
          </p:cNvSpPr>
          <p:nvPr>
            <p:ph type="dt" sz="half" idx="9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5632BEE-40D1-A44D-8EE0-C023ED8A09EF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33539" y="1570338"/>
            <a:ext cx="35052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4"/>
          <p:cNvCxnSpPr/>
          <p:nvPr userDrawn="1"/>
        </p:nvCxnSpPr>
        <p:spPr>
          <a:xfrm>
            <a:off x="4344188" y="1570338"/>
            <a:ext cx="3504136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5"/>
          <p:cNvCxnSpPr/>
          <p:nvPr userDrawn="1"/>
        </p:nvCxnSpPr>
        <p:spPr>
          <a:xfrm>
            <a:off x="8153838" y="1570338"/>
            <a:ext cx="3512407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0992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+ photo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+ photos - 4 Column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2" hasCustomPrompt="1"/>
          </p:nvPr>
        </p:nvSpPr>
        <p:spPr>
          <a:xfrm>
            <a:off x="533984" y="1641184"/>
            <a:ext cx="2542032" cy="1415515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3" hasCustomPrompt="1"/>
          </p:nvPr>
        </p:nvSpPr>
        <p:spPr>
          <a:xfrm>
            <a:off x="3396433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4" hasCustomPrompt="1"/>
          </p:nvPr>
        </p:nvSpPr>
        <p:spPr>
          <a:xfrm>
            <a:off x="6258882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5" hasCustomPrompt="1"/>
          </p:nvPr>
        </p:nvSpPr>
        <p:spPr>
          <a:xfrm>
            <a:off x="9121331" y="1641184"/>
            <a:ext cx="2542032" cy="1418531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Date Placeholder 12"/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AF6D186-DD17-1648-A0B2-C192F6BE5666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2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4221" y="1570338"/>
            <a:ext cx="2542032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/>
          <p:cNvCxnSpPr/>
          <p:nvPr userDrawn="1"/>
        </p:nvCxnSpPr>
        <p:spPr>
          <a:xfrm>
            <a:off x="3396591" y="1570338"/>
            <a:ext cx="2542032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/>
          <p:cNvCxnSpPr/>
          <p:nvPr userDrawn="1"/>
        </p:nvCxnSpPr>
        <p:spPr>
          <a:xfrm>
            <a:off x="6258961" y="1570338"/>
            <a:ext cx="2542032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/>
          <p:cNvCxnSpPr/>
          <p:nvPr userDrawn="1"/>
        </p:nvCxnSpPr>
        <p:spPr>
          <a:xfrm>
            <a:off x="9121331" y="1570338"/>
            <a:ext cx="2542032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542457" y="3279531"/>
            <a:ext cx="2541588" cy="234191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3405819" y="3279531"/>
            <a:ext cx="2541588" cy="234191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269181" y="3279531"/>
            <a:ext cx="2541588" cy="234191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9132542" y="3279531"/>
            <a:ext cx="2541588" cy="234191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4" y="5687193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3388502" y="5687193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257506" y="5664489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132542" y="5664489"/>
            <a:ext cx="255006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77588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Full-width image + 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Full-width image + title &amp; subhead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A30509C-165E-064C-810A-F5EBDA985433}" type="datetime3">
              <a:rPr lang="en-GB" smtClean="0"/>
              <a:t>2 October, 2025</a:t>
            </a:fld>
            <a:endParaRPr lang="en-GB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3" hasCustomPrompt="1"/>
          </p:nvPr>
        </p:nvSpPr>
        <p:spPr>
          <a:xfrm>
            <a:off x="535486" y="1485901"/>
            <a:ext cx="11106150" cy="4648200"/>
          </a:xfrm>
          <a:noFill/>
        </p:spPr>
        <p:txBody>
          <a:bodyPr tIns="146304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</a:lstStyle>
          <a:p>
            <a:r>
              <a:rPr lang="en-US"/>
              <a:t>Drag or click icon to add imag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42457" y="6180307"/>
            <a:ext cx="1110615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9919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Full-width graphic + 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Full-width graphic + title &amp; subhead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idx="1" hasCustomPrompt="1"/>
          </p:nvPr>
        </p:nvSpPr>
        <p:spPr>
          <a:xfrm>
            <a:off x="541225" y="1562100"/>
            <a:ext cx="11122000" cy="4572000"/>
          </a:xfrm>
          <a:prstGeom prst="rect">
            <a:avLst/>
          </a:prstGeom>
          <a:noFill/>
        </p:spPr>
        <p:txBody>
          <a:bodyPr tIns="1188720" anchor="t">
            <a:noAutofit/>
          </a:bodyPr>
          <a:lstStyle>
            <a:lvl1pPr algn="ctr">
              <a:buFontTx/>
              <a:buNone/>
              <a:defRPr sz="1200" baseline="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D636C93-5C49-5349-BF14-0148CCEEBC2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882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Full-width graphic –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idx="1" hasCustomPrompt="1"/>
          </p:nvPr>
        </p:nvSpPr>
        <p:spPr>
          <a:xfrm>
            <a:off x="541225" y="535517"/>
            <a:ext cx="11122000" cy="5598583"/>
          </a:xfrm>
          <a:prstGeom prst="rect">
            <a:avLst/>
          </a:prstGeom>
          <a:noFill/>
        </p:spPr>
        <p:txBody>
          <a:bodyPr tIns="1188720" anchor="t">
            <a:noAutofit/>
          </a:bodyPr>
          <a:lstStyle>
            <a:lvl1pPr algn="ctr">
              <a:buFontTx/>
              <a:buNone/>
              <a:defRPr sz="1200" baseline="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D636C93-5C49-5349-BF14-0148CCEEBC2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65355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Large text with standar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Large text with standard imag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34221" y="1754704"/>
            <a:ext cx="3503842" cy="4303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lvl="0"/>
            <a:r>
              <a:rPr lang="en-US"/>
              <a:t>Large Tex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343400" y="6096696"/>
            <a:ext cx="7284317" cy="18357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00A32D5-599B-0E4F-9F06-69C145ECA256}" type="datetime3">
              <a:rPr lang="en-GB" smtClean="0"/>
              <a:t>2 October, 2025</a:t>
            </a:fld>
            <a:endParaRPr lang="en-GB"/>
          </a:p>
        </p:txBody>
      </p:sp>
      <p:cxnSp>
        <p:nvCxnSpPr>
          <p:cNvPr id="31" name="Straight Connector 9"/>
          <p:cNvCxnSpPr/>
          <p:nvPr userDrawn="1"/>
        </p:nvCxnSpPr>
        <p:spPr>
          <a:xfrm>
            <a:off x="543952" y="1564876"/>
            <a:ext cx="3494111" cy="0"/>
          </a:xfrm>
          <a:prstGeom prst="line">
            <a:avLst/>
          </a:prstGeom>
          <a:ln w="9525"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4343400" y="1565274"/>
            <a:ext cx="7284317" cy="4492619"/>
          </a:xfrm>
          <a:noFill/>
        </p:spPr>
        <p:txBody>
          <a:bodyPr tIns="1463040">
            <a:noAutofit/>
          </a:bodyPr>
          <a:lstStyle>
            <a:lvl1pPr marL="171450" marR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120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Drag picture to placeholder or click icon to add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008094" y="221428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659467" y="189653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73369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>
            <a:fillRect/>
          </a:stretch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/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75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Large text with table, char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Large text with table, chart or object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/>
          <p:cNvSpPr>
            <a:spLocks noGrp="1" noChangeAspect="1"/>
          </p:cNvSpPr>
          <p:nvPr>
            <p:ph idx="1" hasCustomPrompt="1"/>
          </p:nvPr>
        </p:nvSpPr>
        <p:spPr>
          <a:xfrm>
            <a:off x="4343400" y="1564877"/>
            <a:ext cx="7284317" cy="4487248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4A8127-87E3-BC48-AD95-DED164029ADC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31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lvl="0"/>
            <a:r>
              <a:rPr lang="en-US"/>
              <a:t>Large Text</a:t>
            </a:r>
          </a:p>
        </p:txBody>
      </p:sp>
      <p:cxnSp>
        <p:nvCxnSpPr>
          <p:cNvPr id="5" name="Straight Connector 9"/>
          <p:cNvCxnSpPr/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64628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with standar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4343400" y="1565275"/>
            <a:ext cx="7285038" cy="4489450"/>
          </a:xfrm>
        </p:spPr>
        <p:txBody>
          <a:bodyPr bIns="1828800" anchor="ctr"/>
          <a:lstStyle>
            <a:lvl1pPr algn="ctr">
              <a:defRPr sz="120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with standard imag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704EB6F-0EB5-414F-AEF5-C56AD69ADF43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6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to add text</a:t>
            </a:r>
          </a:p>
        </p:txBody>
      </p:sp>
      <p:cxnSp>
        <p:nvCxnSpPr>
          <p:cNvPr id="5" name="Straight Connector 9"/>
          <p:cNvCxnSpPr/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343400" y="6096697"/>
            <a:ext cx="7284317" cy="10772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3333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with Table, Char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with table, chart or object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/>
          <p:cNvSpPr>
            <a:spLocks noGrp="1" noChangeAspect="1"/>
          </p:cNvSpPr>
          <p:nvPr>
            <p:ph idx="1" hasCustomPrompt="1"/>
          </p:nvPr>
        </p:nvSpPr>
        <p:spPr>
          <a:xfrm>
            <a:off x="4365266" y="1564876"/>
            <a:ext cx="7262451" cy="4493021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AF699F9-19B4-4241-8415-D375D9EA6F74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2175933" y="188806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34221" y="1754704"/>
            <a:ext cx="3503842" cy="43087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spcBef>
                <a:spcPts val="300"/>
              </a:spcBef>
              <a:spcAft>
                <a:spcPts val="600"/>
              </a:spcAft>
              <a:defRPr sz="1400" baseline="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to add text</a:t>
            </a:r>
          </a:p>
        </p:txBody>
      </p:sp>
      <p:cxnSp>
        <p:nvCxnSpPr>
          <p:cNvPr id="5" name="Straight Connector 9"/>
          <p:cNvCxnSpPr/>
          <p:nvPr userDrawn="1"/>
        </p:nvCxnSpPr>
        <p:spPr>
          <a:xfrm flipV="1">
            <a:off x="534221" y="1564876"/>
            <a:ext cx="3503842" cy="1"/>
          </a:xfrm>
          <a:prstGeom prst="line">
            <a:avLst/>
          </a:prstGeom>
          <a:ln w="9525"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10991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2 Table, Chart or Object -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2 table, chart or object - 1:3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2" name="Content Placeholder 4"/>
          <p:cNvSpPr>
            <a:spLocks noGrp="1" noChangeAspect="1"/>
          </p:cNvSpPr>
          <p:nvPr>
            <p:ph idx="1" hasCustomPrompt="1"/>
          </p:nvPr>
        </p:nvSpPr>
        <p:spPr>
          <a:xfrm>
            <a:off x="4309570" y="1564876"/>
            <a:ext cx="7318147" cy="4493023"/>
          </a:xfrm>
          <a:prstGeom prst="rect">
            <a:avLst/>
          </a:prstGeom>
          <a:noFill/>
        </p:spPr>
        <p:txBody>
          <a:bodyPr vert="horz" lIns="0" tIns="1188720" rIns="0" bIns="0" rtlCol="0" anchor="t">
            <a:noAutofit/>
          </a:bodyPr>
          <a:lstStyle>
            <a:lvl1pPr algn="ctr">
              <a:buFontTx/>
              <a:buNone/>
              <a:defRPr lang="en-US" sz="1200" baseline="0" dirty="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F3EE0DC-8C8B-7A4A-8685-EB7180526FD2}" type="datetime3">
              <a:rPr lang="en-GB" smtClean="0"/>
              <a:t>2 October, 2025</a:t>
            </a:fld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 hasCustomPrompt="1"/>
          </p:nvPr>
        </p:nvSpPr>
        <p:spPr>
          <a:xfrm>
            <a:off x="564283" y="1565275"/>
            <a:ext cx="3495675" cy="4501430"/>
          </a:xfrm>
        </p:spPr>
        <p:txBody>
          <a:bodyPr tIns="1188720"/>
          <a:lstStyle>
            <a:lvl1pPr>
              <a:defRPr sz="120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53652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and side-bar notes – parch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and side-bar not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5"/>
            <a:ext cx="2011680" cy="4570476"/>
          </a:xfrm>
          <a:noFill/>
        </p:spPr>
        <p:txBody>
          <a:bodyPr lIns="0" tIns="0" rIns="91440" bIns="91440"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090" indent="-128270">
              <a:defRPr sz="1200"/>
            </a:lvl4pPr>
            <a:lvl5pPr marL="694690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2" name="Date Placeholder 7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67C3BD8-00AE-0742-8DB1-6FA3CD6B1C0D}" type="datetime3">
              <a:rPr lang="en-GB" smtClean="0"/>
              <a:t>2 October, 2025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25"/>
            <a:ext cx="8869680" cy="4570475"/>
          </a:xfrm>
          <a:noFill/>
        </p:spPr>
        <p:txBody>
          <a:bodyPr tIns="164592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24759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53961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Graphic and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Graphic and side-bar not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69787"/>
          </a:xfrm>
          <a:noFill/>
        </p:spPr>
        <p:txBody>
          <a:bodyPr lIns="0" tIns="0" rIns="91440" bIns="91440"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090" indent="-128270">
              <a:defRPr sz="1200"/>
            </a:lvl4pPr>
            <a:lvl5pPr marL="694690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2" name="Date Placeholder 7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1637929-26A8-274C-A161-5C062C1E2201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3" hasCustomPrompt="1"/>
          </p:nvPr>
        </p:nvSpPr>
        <p:spPr>
          <a:xfrm>
            <a:off x="2793683" y="1563624"/>
            <a:ext cx="8869680" cy="4570476"/>
          </a:xfrm>
          <a:noFill/>
        </p:spPr>
        <p:txBody>
          <a:bodyPr tIns="128016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72345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and Slate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77"/>
            <a:ext cx="8869680" cy="4570423"/>
          </a:xfrm>
          <a:noFill/>
        </p:spPr>
        <p:txBody>
          <a:bodyPr tIns="164592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and slate side-bar not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70475"/>
          </a:xfrm>
          <a:solidFill>
            <a:srgbClr val="303A44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090" indent="-128270">
              <a:defRPr sz="1200"/>
            </a:lvl4pPr>
            <a:lvl5pPr marL="694690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2" name="Date Placeholder 7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A56AA10-6C1E-0243-B075-C09DF783BF2A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197377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0252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and Saffron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2793683" y="1563677"/>
            <a:ext cx="8869680" cy="4570423"/>
          </a:xfrm>
          <a:noFill/>
        </p:spPr>
        <p:txBody>
          <a:bodyPr tIns="164592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Tx/>
              <a:buNone/>
              <a:defRPr/>
            </a:pPr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and Saffron side-bar not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70475"/>
          </a:xfrm>
          <a:solidFill>
            <a:srgbClr val="E7C700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090" indent="-128270">
              <a:defRPr sz="1200"/>
            </a:lvl4pPr>
            <a:lvl5pPr marL="694690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2" name="Date Placeholder 7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A56AA10-6C1E-0243-B075-C09DF783BF2A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793683" y="6182797"/>
            <a:ext cx="8862771" cy="197377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78509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Graphic and Slate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Graphic and slate side-bar not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26136"/>
          </a:xfrm>
          <a:solidFill>
            <a:srgbClr val="303A44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090" indent="-128270">
              <a:defRPr sz="1200"/>
            </a:lvl4pPr>
            <a:lvl5pPr marL="694690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2" name="Date Placeholder 7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2BCAF0-E24F-DF4E-ABE1-5CE5A5FCE0AC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3" hasCustomPrompt="1"/>
          </p:nvPr>
        </p:nvSpPr>
        <p:spPr>
          <a:xfrm>
            <a:off x="2779396" y="1563624"/>
            <a:ext cx="8869680" cy="4526819"/>
          </a:xfrm>
          <a:noFill/>
        </p:spPr>
        <p:txBody>
          <a:bodyPr tIns="128016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60732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Graphic and Saffron side-ba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Graphic and saffron side-bar not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42924" y="1563624"/>
            <a:ext cx="2011680" cy="4526136"/>
          </a:xfrm>
          <a:solidFill>
            <a:srgbClr val="E7C700"/>
          </a:solidFill>
        </p:spPr>
        <p:txBody>
          <a:bodyPr lIns="137160" tIns="137160" rIns="91440" bIns="91440">
            <a:noAutofit/>
          </a:bodyPr>
          <a:lstStyle>
            <a:lvl1pPr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090" indent="-128270">
              <a:defRPr sz="1200"/>
            </a:lvl4pPr>
            <a:lvl5pPr marL="694690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2" name="Date Placeholder 7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2BCAF0-E24F-DF4E-ABE1-5CE5A5FCE0AC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3" hasCustomPrompt="1"/>
          </p:nvPr>
        </p:nvSpPr>
        <p:spPr>
          <a:xfrm>
            <a:off x="2779396" y="1563624"/>
            <a:ext cx="8869680" cy="4526819"/>
          </a:xfrm>
          <a:noFill/>
        </p:spPr>
        <p:txBody>
          <a:bodyPr tIns="1280160">
            <a:noAutofit/>
          </a:bodyPr>
          <a:lstStyle>
            <a:lvl1pPr algn="ctr">
              <a:defRPr sz="1200">
                <a:solidFill>
                  <a:srgbClr val="000000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add image, graphic, or other content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664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2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8470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Text and Images - 4 Columns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Text and images - 4 columns + header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7" y="1573067"/>
            <a:ext cx="250327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3434572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6311227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9187881" y="1573067"/>
            <a:ext cx="2487816" cy="1222218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542457" y="3206699"/>
            <a:ext cx="2499041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3431749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309815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9187881" y="3206699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39" hasCustomPrompt="1"/>
          </p:nvPr>
        </p:nvSpPr>
        <p:spPr>
          <a:xfrm>
            <a:off x="533539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3431749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6309815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42" hasCustomPrompt="1"/>
          </p:nvPr>
        </p:nvSpPr>
        <p:spPr>
          <a:xfrm>
            <a:off x="9187881" y="3718413"/>
            <a:ext cx="2487816" cy="2590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303A4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6D7BFEA-381A-8345-82DA-A71F7B2A5E7E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2855841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3435012" y="2855841"/>
            <a:ext cx="248455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309815" y="2855841"/>
            <a:ext cx="248455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184619" y="2855841"/>
            <a:ext cx="2487817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59885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s w heading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s with headings - 4 column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7" y="2103124"/>
            <a:ext cx="250327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3434572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6311227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9187881" y="2103124"/>
            <a:ext cx="2487816" cy="2063048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542457" y="4301322"/>
            <a:ext cx="2499041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3431749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309815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9187881" y="4301322"/>
            <a:ext cx="2487816" cy="364876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2486B55-A585-344E-A5BE-3FA38CE0563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51531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grid + text –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grid and text – 2 x 2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4358640" y="1573402"/>
            <a:ext cx="3474720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4358640" y="4083691"/>
            <a:ext cx="3474720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6E1AEF1-97B3-B645-B20D-4CA19CC506DA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8153935" y="1573402"/>
            <a:ext cx="3509428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8153935" y="4083691"/>
            <a:ext cx="3509428" cy="2030299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542925" y="1573212"/>
            <a:ext cx="3489710" cy="4544725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Aft>
                <a:spcPts val="600"/>
              </a:spcAft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65499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358640" y="6165499"/>
            <a:ext cx="34747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8153935" y="6165499"/>
            <a:ext cx="351850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4358640" y="3660565"/>
            <a:ext cx="34747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8153935" y="3671374"/>
            <a:ext cx="3518501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50034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s and text –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s and text – 3 photo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4358640" y="1573403"/>
            <a:ext cx="4583229" cy="4560697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01EFAF6-90EB-344A-95A3-5216600B8A52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9269127" y="1573403"/>
            <a:ext cx="2394236" cy="2115377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9269127" y="3994850"/>
            <a:ext cx="2394236" cy="2139250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542925" y="1573212"/>
            <a:ext cx="3489710" cy="456089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Aft>
                <a:spcPts val="600"/>
              </a:spcAft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65499"/>
            <a:ext cx="349865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358640" y="6165499"/>
            <a:ext cx="4583229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269127" y="6165499"/>
            <a:ext cx="2394236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9269127" y="3724448"/>
            <a:ext cx="2394236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191062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5 images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5 images + heading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6" y="2101663"/>
            <a:ext cx="5439243" cy="4032437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9145978" y="2083756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5C32785-F12B-E046-A31C-1C53461053E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9145978" y="4530815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1" hasCustomPrompt="1"/>
          </p:nvPr>
        </p:nvSpPr>
        <p:spPr>
          <a:xfrm>
            <a:off x="6272436" y="2083756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6272436" y="4530815"/>
            <a:ext cx="2560320" cy="1604255"/>
          </a:xfrm>
          <a:prstGeom prst="rect">
            <a:avLst/>
          </a:prstGeom>
          <a:noFill/>
          <a:ln>
            <a:noFill/>
          </a:ln>
        </p:spPr>
        <p:txBody>
          <a:bodyPr tIns="91440">
            <a:noAutofit/>
          </a:bodyPr>
          <a:lstStyle>
            <a:lvl1pPr marL="0" indent="0" algn="ctr">
              <a:buNone/>
              <a:defRPr sz="9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533983" y="1641185"/>
            <a:ext cx="5447814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276207" y="1641185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5" hasCustomPrompt="1"/>
          </p:nvPr>
        </p:nvSpPr>
        <p:spPr>
          <a:xfrm>
            <a:off x="9145978" y="1641185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4221" y="1570338"/>
            <a:ext cx="5447814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7"/>
          <p:cNvCxnSpPr/>
          <p:nvPr userDrawn="1"/>
        </p:nvCxnSpPr>
        <p:spPr>
          <a:xfrm>
            <a:off x="6276206" y="1570338"/>
            <a:ext cx="25603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8"/>
          <p:cNvCxnSpPr/>
          <p:nvPr userDrawn="1"/>
        </p:nvCxnSpPr>
        <p:spPr>
          <a:xfrm>
            <a:off x="9145978" y="1570338"/>
            <a:ext cx="25603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276207" y="4103602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9145978" y="4103602"/>
            <a:ext cx="25603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5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89352"/>
            <a:ext cx="25075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61554" y="6189352"/>
            <a:ext cx="25603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145978" y="6189352"/>
            <a:ext cx="256032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6261554" y="3743301"/>
            <a:ext cx="2593687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9145978" y="3754110"/>
            <a:ext cx="25319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9092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grid –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grid – 2 x 1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42456" y="1573403"/>
            <a:ext cx="5439243" cy="4560697"/>
          </a:xfrm>
          <a:prstGeom prst="rect">
            <a:avLst/>
          </a:prstGeom>
          <a:noFill/>
        </p:spPr>
        <p:txBody>
          <a:bodyPr tIns="91440" bIns="1371600" anchor="ctr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6254583" y="1573403"/>
            <a:ext cx="5394960" cy="4560697"/>
          </a:xfrm>
          <a:prstGeom prst="rect">
            <a:avLst/>
          </a:prstGeom>
          <a:noFill/>
        </p:spPr>
        <p:txBody>
          <a:bodyPr tIns="91440" bIns="1371600" anchor="ctr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FE3FFF9-82BE-4F45-AB2A-49760BA53BDB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5" y="6189352"/>
            <a:ext cx="5447714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61554" y="6189352"/>
            <a:ext cx="539490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06595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grid –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grid – 2 x 2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27426" y="1573403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527426" y="4138630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6261494" y="1573403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6261494" y="4138630"/>
            <a:ext cx="5394960" cy="2011680"/>
          </a:xfrm>
          <a:prstGeom prst="rect">
            <a:avLst/>
          </a:prstGeom>
          <a:noFill/>
        </p:spPr>
        <p:txBody>
          <a:bodyPr tIns="91440" bIns="1097280" anchor="ctr">
            <a:noAutofit/>
          </a:bodyPr>
          <a:lstStyle>
            <a:lvl1pPr marL="0" indent="0" algn="ctr"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F20B7DB-99C0-6E49-A94D-7B2B48A87EA9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3" y="6189352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61494" y="6189352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533983" y="3629035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6261494" y="3629035"/>
            <a:ext cx="539496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27348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Image grid – 2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Image grid – 2 x 3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16302" y="1573404"/>
            <a:ext cx="3522297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516302" y="4064891"/>
            <a:ext cx="3522297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9" hasCustomPrompt="1"/>
          </p:nvPr>
        </p:nvSpPr>
        <p:spPr>
          <a:xfrm>
            <a:off x="4343399" y="1573404"/>
            <a:ext cx="3520440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4343399" y="4064891"/>
            <a:ext cx="3520440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8067E45-C0E7-244B-B2FC-1F0132196F7E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8153934" y="1573404"/>
            <a:ext cx="3521763" cy="2122296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8153934" y="4064891"/>
            <a:ext cx="3521763" cy="2063048"/>
          </a:xfrm>
          <a:prstGeom prst="rect">
            <a:avLst/>
          </a:prstGeom>
          <a:noFill/>
        </p:spPr>
        <p:txBody>
          <a:bodyPr tIns="27432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Drag picture or click icon to </a:t>
            </a:r>
            <a:br>
              <a:rPr lang="en-US"/>
            </a:br>
            <a:r>
              <a:rPr lang="en-US"/>
              <a:t>insert a phot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533983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343399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8153933" y="6189352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533983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4343399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8153933" y="3748301"/>
            <a:ext cx="3520440" cy="200054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900" i="0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caption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38597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Key Figure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Key figures grid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89988F6-6C19-FB4C-A973-2DEDDD5F178D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33400" y="1562100"/>
            <a:ext cx="11125294" cy="4572000"/>
          </a:xfrm>
          <a:prstGeom prst="rect">
            <a:avLst/>
          </a:prstGeom>
          <a:solidFill>
            <a:srgbClr val="303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rgbClr val="F5F3ED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257999" y="1980007"/>
            <a:ext cx="0" cy="3713194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094439" y="1980007"/>
            <a:ext cx="0" cy="3713194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8930879" y="1980007"/>
            <a:ext cx="0" cy="3713194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47532" y="3827179"/>
            <a:ext cx="2401147" cy="0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477399" y="3827179"/>
            <a:ext cx="2401147" cy="0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307266" y="3827179"/>
            <a:ext cx="2401147" cy="0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9137133" y="3827179"/>
            <a:ext cx="2401147" cy="0"/>
          </a:xfrm>
          <a:prstGeom prst="line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48"/>
          <p:cNvSpPr>
            <a:spLocks noGrp="1"/>
          </p:cNvSpPr>
          <p:nvPr>
            <p:ph type="body" sz="quarter" idx="22" hasCustomPrompt="1"/>
          </p:nvPr>
        </p:nvSpPr>
        <p:spPr>
          <a:xfrm>
            <a:off x="664447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0" name="Text Placeholder 48"/>
          <p:cNvSpPr>
            <a:spLocks noGrp="1"/>
          </p:cNvSpPr>
          <p:nvPr>
            <p:ph type="body" sz="quarter" idx="23" hasCustomPrompt="1"/>
          </p:nvPr>
        </p:nvSpPr>
        <p:spPr>
          <a:xfrm>
            <a:off x="3466013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XX</a:t>
            </a:r>
          </a:p>
        </p:txBody>
      </p:sp>
      <p:sp>
        <p:nvSpPr>
          <p:cNvPr id="51" name="Text Placeholder 48"/>
          <p:cNvSpPr>
            <a:spLocks noGrp="1"/>
          </p:cNvSpPr>
          <p:nvPr>
            <p:ph type="body" sz="quarter" idx="24" hasCustomPrompt="1"/>
          </p:nvPr>
        </p:nvSpPr>
        <p:spPr>
          <a:xfrm>
            <a:off x="6335673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2" name="Text Placeholder 48"/>
          <p:cNvSpPr>
            <a:spLocks noGrp="1"/>
          </p:cNvSpPr>
          <p:nvPr>
            <p:ph type="body" sz="quarter" idx="25" hasCustomPrompt="1"/>
          </p:nvPr>
        </p:nvSpPr>
        <p:spPr>
          <a:xfrm>
            <a:off x="9108056" y="2127974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53" name="Text Placeholder 48"/>
          <p:cNvSpPr>
            <a:spLocks noGrp="1"/>
          </p:cNvSpPr>
          <p:nvPr>
            <p:ph type="body" sz="quarter" idx="26" hasCustomPrompt="1"/>
          </p:nvPr>
        </p:nvSpPr>
        <p:spPr>
          <a:xfrm>
            <a:off x="664447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X</a:t>
            </a:r>
          </a:p>
        </p:txBody>
      </p:sp>
      <p:sp>
        <p:nvSpPr>
          <p:cNvPr id="54" name="Text Placeholder 48"/>
          <p:cNvSpPr>
            <a:spLocks noGrp="1"/>
          </p:cNvSpPr>
          <p:nvPr>
            <p:ph type="body" sz="quarter" idx="27" hasCustomPrompt="1"/>
          </p:nvPr>
        </p:nvSpPr>
        <p:spPr>
          <a:xfrm>
            <a:off x="3466013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5" name="Text Placeholder 48"/>
          <p:cNvSpPr>
            <a:spLocks noGrp="1"/>
          </p:cNvSpPr>
          <p:nvPr>
            <p:ph type="body" sz="quarter" idx="28" hasCustomPrompt="1"/>
          </p:nvPr>
        </p:nvSpPr>
        <p:spPr>
          <a:xfrm>
            <a:off x="6335673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.XB</a:t>
            </a:r>
          </a:p>
        </p:txBody>
      </p:sp>
      <p:sp>
        <p:nvSpPr>
          <p:cNvPr id="56" name="Text Placeholder 48"/>
          <p:cNvSpPr>
            <a:spLocks noGrp="1"/>
          </p:cNvSpPr>
          <p:nvPr>
            <p:ph type="body" sz="quarter" idx="29" hasCustomPrompt="1"/>
          </p:nvPr>
        </p:nvSpPr>
        <p:spPr>
          <a:xfrm>
            <a:off x="9108056" y="4180510"/>
            <a:ext cx="2396451" cy="914400"/>
          </a:xfrm>
        </p:spPr>
        <p:txBody>
          <a:bodyPr anchor="ctr" anchorCtr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5400" kern="1200" baseline="0" dirty="0" smtClean="0">
                <a:solidFill>
                  <a:srgbClr val="FFFFFF"/>
                </a:solidFill>
                <a:latin typeface="Cambria" panose="02040503050406030204" pitchFamily="18" charset="0"/>
                <a:ea typeface="Noto Serif" panose="02020600060500020200" pitchFamily="18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 X,XXX</a:t>
            </a:r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30" hasCustomPrompt="1"/>
          </p:nvPr>
        </p:nvSpPr>
        <p:spPr>
          <a:xfrm>
            <a:off x="749585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31" hasCustomPrompt="1"/>
          </p:nvPr>
        </p:nvSpPr>
        <p:spPr>
          <a:xfrm>
            <a:off x="749585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1" name="Text Placeholder 57"/>
          <p:cNvSpPr>
            <a:spLocks noGrp="1"/>
          </p:cNvSpPr>
          <p:nvPr>
            <p:ph type="body" sz="quarter" idx="32" hasCustomPrompt="1"/>
          </p:nvPr>
        </p:nvSpPr>
        <p:spPr>
          <a:xfrm>
            <a:off x="3551151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2" name="Text Placeholder 57"/>
          <p:cNvSpPr>
            <a:spLocks noGrp="1"/>
          </p:cNvSpPr>
          <p:nvPr>
            <p:ph type="body" sz="quarter" idx="33" hasCustomPrompt="1"/>
          </p:nvPr>
        </p:nvSpPr>
        <p:spPr>
          <a:xfrm>
            <a:off x="3551151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7"/>
          <p:cNvSpPr>
            <a:spLocks noGrp="1"/>
          </p:cNvSpPr>
          <p:nvPr>
            <p:ph type="body" sz="quarter" idx="34" hasCustomPrompt="1"/>
          </p:nvPr>
        </p:nvSpPr>
        <p:spPr>
          <a:xfrm>
            <a:off x="6440266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7"/>
          <p:cNvSpPr>
            <a:spLocks noGrp="1"/>
          </p:cNvSpPr>
          <p:nvPr>
            <p:ph type="body" sz="quarter" idx="35" hasCustomPrompt="1"/>
          </p:nvPr>
        </p:nvSpPr>
        <p:spPr>
          <a:xfrm>
            <a:off x="6440266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7"/>
          <p:cNvSpPr>
            <a:spLocks noGrp="1"/>
          </p:cNvSpPr>
          <p:nvPr>
            <p:ph type="body" sz="quarter" idx="36" hasCustomPrompt="1"/>
          </p:nvPr>
        </p:nvSpPr>
        <p:spPr>
          <a:xfrm>
            <a:off x="9202922" y="3173225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6" name="Text Placeholder 57"/>
          <p:cNvSpPr>
            <a:spLocks noGrp="1"/>
          </p:cNvSpPr>
          <p:nvPr>
            <p:ph type="body" sz="quarter" idx="37" hasCustomPrompt="1"/>
          </p:nvPr>
        </p:nvSpPr>
        <p:spPr>
          <a:xfrm>
            <a:off x="9202922" y="5235489"/>
            <a:ext cx="2229010" cy="222479"/>
          </a:xfrm>
        </p:spPr>
        <p:txBody>
          <a:bodyPr tIns="0" bIns="0">
            <a:noAutofit/>
          </a:bodyPr>
          <a:lstStyle>
            <a:lvl1pPr marL="0" algn="ctr" defTabSz="914400" rtl="0" eaLnBrk="1" latinLnBrk="0" hangingPunct="1">
              <a:spcAft>
                <a:spcPts val="600"/>
              </a:spcAft>
              <a:defRPr lang="en-US" sz="1400" kern="1200" dirty="0">
                <a:solidFill>
                  <a:srgbClr val="FFFFFF"/>
                </a:solidFill>
                <a:latin typeface="Calibri" panose="020F0502020204030204" pitchFamily="34" charset="0"/>
                <a:ea typeface="Noto Sans" panose="020B050204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65161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Slate boxes – 5 columns +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/>
          <p:cNvSpPr>
            <a:spLocks noGrp="1"/>
          </p:cNvSpPr>
          <p:nvPr>
            <p:ph type="body" sz="quarter" idx="36" hasCustomPrompt="1"/>
          </p:nvPr>
        </p:nvSpPr>
        <p:spPr>
          <a:xfrm>
            <a:off x="530205" y="1944070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Slate boxes – 5 columns + 1 header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2100"/>
            <a:ext cx="11125962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5" name="Date Placeholder 12"/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A4029C4-B8C6-3F41-8F25-5A76CEA062C9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2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4221" y="1491253"/>
            <a:ext cx="2103120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/>
          <p:cNvCxnSpPr/>
          <p:nvPr userDrawn="1"/>
        </p:nvCxnSpPr>
        <p:spPr>
          <a:xfrm>
            <a:off x="2802377" y="1491253"/>
            <a:ext cx="2103120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/>
          <p:cNvCxnSpPr/>
          <p:nvPr userDrawn="1"/>
        </p:nvCxnSpPr>
        <p:spPr>
          <a:xfrm>
            <a:off x="5070533" y="1491253"/>
            <a:ext cx="2084939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/>
          <p:cNvCxnSpPr/>
          <p:nvPr userDrawn="1"/>
        </p:nvCxnSpPr>
        <p:spPr>
          <a:xfrm>
            <a:off x="7320508" y="1491253"/>
            <a:ext cx="2085312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8"/>
          <p:cNvCxnSpPr/>
          <p:nvPr userDrawn="1"/>
        </p:nvCxnSpPr>
        <p:spPr>
          <a:xfrm>
            <a:off x="9570855" y="1491253"/>
            <a:ext cx="2085312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 Placeholder 54"/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73510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/>
          <p:cNvSpPr>
            <a:spLocks noGrp="1"/>
          </p:cNvSpPr>
          <p:nvPr>
            <p:ph type="body" sz="quarter" idx="37" hasCustomPrompt="1"/>
          </p:nvPr>
        </p:nvSpPr>
        <p:spPr>
          <a:xfrm>
            <a:off x="2792759" y="1944070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/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/>
          <p:cNvSpPr>
            <a:spLocks noGrp="1"/>
          </p:cNvSpPr>
          <p:nvPr>
            <p:ph type="body" sz="quarter" idx="39" hasCustomPrompt="1"/>
          </p:nvPr>
        </p:nvSpPr>
        <p:spPr>
          <a:xfrm>
            <a:off x="5055313" y="1944070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/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/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44070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/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/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44070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/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/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75801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/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/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75801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/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/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75801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/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/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75801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/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/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75801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/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34221" y="1486446"/>
            <a:ext cx="1112751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45012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8467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ream boxes – 5 columns +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/>
          <p:cNvSpPr>
            <a:spLocks noGrp="1"/>
          </p:cNvSpPr>
          <p:nvPr>
            <p:ph type="body" sz="quarter" idx="36" hasCustomPrompt="1"/>
          </p:nvPr>
        </p:nvSpPr>
        <p:spPr>
          <a:xfrm>
            <a:off x="545425" y="1944070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White boxes – 5 columns + 1 header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2100"/>
            <a:ext cx="11153336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5" name="Date Placeholder 12"/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4F186AB-10A0-D14E-ABBD-133ADD9E42F9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2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4221" y="1491253"/>
            <a:ext cx="2103120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6"/>
          <p:cNvCxnSpPr/>
          <p:nvPr userDrawn="1"/>
        </p:nvCxnSpPr>
        <p:spPr>
          <a:xfrm>
            <a:off x="2802377" y="1491253"/>
            <a:ext cx="2103120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7"/>
          <p:cNvCxnSpPr/>
          <p:nvPr userDrawn="1"/>
        </p:nvCxnSpPr>
        <p:spPr>
          <a:xfrm>
            <a:off x="5070533" y="1491253"/>
            <a:ext cx="2084939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8"/>
          <p:cNvCxnSpPr/>
          <p:nvPr userDrawn="1"/>
        </p:nvCxnSpPr>
        <p:spPr>
          <a:xfrm>
            <a:off x="7320508" y="1491253"/>
            <a:ext cx="2085312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8"/>
          <p:cNvCxnSpPr/>
          <p:nvPr userDrawn="1"/>
        </p:nvCxnSpPr>
        <p:spPr>
          <a:xfrm>
            <a:off x="9570855" y="1491253"/>
            <a:ext cx="2085312" cy="0"/>
          </a:xfrm>
          <a:prstGeom prst="line">
            <a:avLst/>
          </a:prstGeom>
          <a:ln>
            <a:solidFill>
              <a:srgbClr val="F5F3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 Placeholder 54"/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73510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/>
          <p:cNvSpPr>
            <a:spLocks noGrp="1"/>
          </p:cNvSpPr>
          <p:nvPr>
            <p:ph type="body" sz="quarter" idx="37" hasCustomPrompt="1"/>
          </p:nvPr>
        </p:nvSpPr>
        <p:spPr>
          <a:xfrm>
            <a:off x="2807979" y="1944070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/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/>
          <p:cNvSpPr>
            <a:spLocks noGrp="1"/>
          </p:cNvSpPr>
          <p:nvPr>
            <p:ph type="body" sz="quarter" idx="39" hasCustomPrompt="1"/>
          </p:nvPr>
        </p:nvSpPr>
        <p:spPr>
          <a:xfrm>
            <a:off x="5070533" y="1944070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/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/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44070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/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/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44070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/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73510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/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75801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/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/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75801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/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/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75801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/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/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75801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/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/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75801"/>
            <a:ext cx="2103120" cy="2001080"/>
          </a:xfrm>
          <a:solidFill>
            <a:srgbClr val="FFFFFF">
              <a:alpha val="50000"/>
            </a:srgbClr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/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05241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34221" y="1486446"/>
            <a:ext cx="1112751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91778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Boxes – 5 columns + 5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Placeholder 52"/>
          <p:cNvSpPr>
            <a:spLocks noGrp="1"/>
          </p:cNvSpPr>
          <p:nvPr>
            <p:ph type="body" sz="quarter" idx="36" hasCustomPrompt="1"/>
          </p:nvPr>
        </p:nvSpPr>
        <p:spPr>
          <a:xfrm>
            <a:off x="530205" y="1957632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Boxes – 5 columns + 5 headers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2" hasCustomPrompt="1"/>
          </p:nvPr>
        </p:nvSpPr>
        <p:spPr>
          <a:xfrm>
            <a:off x="530205" y="1566149"/>
            <a:ext cx="2103120" cy="3284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3" hasCustomPrompt="1"/>
          </p:nvPr>
        </p:nvSpPr>
        <p:spPr>
          <a:xfrm>
            <a:off x="2792759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4" hasCustomPrompt="1"/>
          </p:nvPr>
        </p:nvSpPr>
        <p:spPr>
          <a:xfrm>
            <a:off x="5055313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5" hasCustomPrompt="1"/>
          </p:nvPr>
        </p:nvSpPr>
        <p:spPr>
          <a:xfrm>
            <a:off x="7317867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4</a:t>
            </a:r>
          </a:p>
        </p:txBody>
      </p:sp>
      <p:sp>
        <p:nvSpPr>
          <p:cNvPr id="35" name="Date Placeholder 12"/>
          <p:cNvSpPr>
            <a:spLocks noGrp="1"/>
          </p:cNvSpPr>
          <p:nvPr>
            <p:ph type="dt" sz="half" idx="11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CC230EB-E2BB-1944-B5B7-93A9953B6CF9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2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580421" y="1566149"/>
            <a:ext cx="2103120" cy="32918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rgbClr val="303A44"/>
                </a:solidFill>
              </a:defRPr>
            </a:lvl1pPr>
          </a:lstStyle>
          <a:p>
            <a:pPr lvl="0"/>
            <a:r>
              <a:rPr lang="en-US"/>
              <a:t>Header 5</a:t>
            </a:r>
          </a:p>
        </p:txBody>
      </p:sp>
      <p:sp>
        <p:nvSpPr>
          <p:cNvPr id="70" name="Text Placeholder 54"/>
          <p:cNvSpPr>
            <a:spLocks noGrp="1"/>
          </p:cNvSpPr>
          <p:nvPr>
            <p:ph type="body" sz="quarter" idx="25" hasCustomPrompt="1"/>
          </p:nvPr>
        </p:nvSpPr>
        <p:spPr>
          <a:xfrm>
            <a:off x="679156" y="2587072"/>
            <a:ext cx="1804987" cy="1195388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escriptive text paragraph</a:t>
            </a:r>
          </a:p>
        </p:txBody>
      </p:sp>
      <p:sp>
        <p:nvSpPr>
          <p:cNvPr id="87" name="Text Placeholder 52"/>
          <p:cNvSpPr>
            <a:spLocks noGrp="1"/>
          </p:cNvSpPr>
          <p:nvPr>
            <p:ph type="body" sz="quarter" idx="37" hasCustomPrompt="1"/>
          </p:nvPr>
        </p:nvSpPr>
        <p:spPr>
          <a:xfrm>
            <a:off x="2792759" y="1957632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8" name="Text Placeholder 54"/>
          <p:cNvSpPr>
            <a:spLocks noGrp="1"/>
          </p:cNvSpPr>
          <p:nvPr>
            <p:ph type="body" sz="quarter" idx="38" hasCustomPrompt="1"/>
          </p:nvPr>
        </p:nvSpPr>
        <p:spPr>
          <a:xfrm>
            <a:off x="2956012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89" name="Text Placeholder 52"/>
          <p:cNvSpPr>
            <a:spLocks noGrp="1"/>
          </p:cNvSpPr>
          <p:nvPr>
            <p:ph type="body" sz="quarter" idx="39" hasCustomPrompt="1"/>
          </p:nvPr>
        </p:nvSpPr>
        <p:spPr>
          <a:xfrm>
            <a:off x="5055313" y="1957632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0" name="Text Placeholder 54"/>
          <p:cNvSpPr>
            <a:spLocks noGrp="1"/>
          </p:cNvSpPr>
          <p:nvPr>
            <p:ph type="body" sz="quarter" idx="40" hasCustomPrompt="1"/>
          </p:nvPr>
        </p:nvSpPr>
        <p:spPr>
          <a:xfrm>
            <a:off x="5218566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1" name="Text Placeholder 52"/>
          <p:cNvSpPr>
            <a:spLocks noGrp="1"/>
          </p:cNvSpPr>
          <p:nvPr>
            <p:ph type="body" sz="quarter" idx="41" hasCustomPrompt="1"/>
          </p:nvPr>
        </p:nvSpPr>
        <p:spPr>
          <a:xfrm>
            <a:off x="7317867" y="1957632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2" name="Text Placeholder 54"/>
          <p:cNvSpPr>
            <a:spLocks noGrp="1"/>
          </p:cNvSpPr>
          <p:nvPr>
            <p:ph type="body" sz="quarter" idx="42" hasCustomPrompt="1"/>
          </p:nvPr>
        </p:nvSpPr>
        <p:spPr>
          <a:xfrm>
            <a:off x="7481120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3" name="Text Placeholder 52"/>
          <p:cNvSpPr>
            <a:spLocks noGrp="1"/>
          </p:cNvSpPr>
          <p:nvPr>
            <p:ph type="body" sz="quarter" idx="43" hasCustomPrompt="1"/>
          </p:nvPr>
        </p:nvSpPr>
        <p:spPr>
          <a:xfrm>
            <a:off x="9580421" y="1957632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4" name="Text Placeholder 54"/>
          <p:cNvSpPr>
            <a:spLocks noGrp="1"/>
          </p:cNvSpPr>
          <p:nvPr>
            <p:ph type="body" sz="quarter" idx="44" hasCustomPrompt="1"/>
          </p:nvPr>
        </p:nvSpPr>
        <p:spPr>
          <a:xfrm>
            <a:off x="9729372" y="2587072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5" name="Text Placeholder 52"/>
          <p:cNvSpPr>
            <a:spLocks noGrp="1"/>
          </p:cNvSpPr>
          <p:nvPr>
            <p:ph type="body" sz="quarter" idx="45" hasCustomPrompt="1"/>
          </p:nvPr>
        </p:nvSpPr>
        <p:spPr>
          <a:xfrm>
            <a:off x="530205" y="4089363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6" name="Text Placeholder 54"/>
          <p:cNvSpPr>
            <a:spLocks noGrp="1"/>
          </p:cNvSpPr>
          <p:nvPr>
            <p:ph type="body" sz="quarter" idx="46" hasCustomPrompt="1"/>
          </p:nvPr>
        </p:nvSpPr>
        <p:spPr>
          <a:xfrm>
            <a:off x="679156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7" name="Text Placeholder 52"/>
          <p:cNvSpPr>
            <a:spLocks noGrp="1"/>
          </p:cNvSpPr>
          <p:nvPr>
            <p:ph type="body" sz="quarter" idx="47" hasCustomPrompt="1"/>
          </p:nvPr>
        </p:nvSpPr>
        <p:spPr>
          <a:xfrm>
            <a:off x="2792759" y="4089363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8" name="Text Placeholder 54"/>
          <p:cNvSpPr>
            <a:spLocks noGrp="1"/>
          </p:cNvSpPr>
          <p:nvPr>
            <p:ph type="body" sz="quarter" idx="48" hasCustomPrompt="1"/>
          </p:nvPr>
        </p:nvSpPr>
        <p:spPr>
          <a:xfrm>
            <a:off x="2965156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99" name="Text Placeholder 52"/>
          <p:cNvSpPr>
            <a:spLocks noGrp="1"/>
          </p:cNvSpPr>
          <p:nvPr>
            <p:ph type="body" sz="quarter" idx="49" hasCustomPrompt="1"/>
          </p:nvPr>
        </p:nvSpPr>
        <p:spPr>
          <a:xfrm>
            <a:off x="5055313" y="4089363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0" name="Text Placeholder 54"/>
          <p:cNvSpPr>
            <a:spLocks noGrp="1"/>
          </p:cNvSpPr>
          <p:nvPr>
            <p:ph type="body" sz="quarter" idx="50" hasCustomPrompt="1"/>
          </p:nvPr>
        </p:nvSpPr>
        <p:spPr>
          <a:xfrm>
            <a:off x="5227710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1" name="Text Placeholder 52"/>
          <p:cNvSpPr>
            <a:spLocks noGrp="1"/>
          </p:cNvSpPr>
          <p:nvPr>
            <p:ph type="body" sz="quarter" idx="51" hasCustomPrompt="1"/>
          </p:nvPr>
        </p:nvSpPr>
        <p:spPr>
          <a:xfrm>
            <a:off x="7317867" y="4089363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2" name="Text Placeholder 54"/>
          <p:cNvSpPr>
            <a:spLocks noGrp="1"/>
          </p:cNvSpPr>
          <p:nvPr>
            <p:ph type="body" sz="quarter" idx="52" hasCustomPrompt="1"/>
          </p:nvPr>
        </p:nvSpPr>
        <p:spPr>
          <a:xfrm>
            <a:off x="7490264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03" name="Text Placeholder 52"/>
          <p:cNvSpPr>
            <a:spLocks noGrp="1"/>
          </p:cNvSpPr>
          <p:nvPr>
            <p:ph type="body" sz="quarter" idx="53" hasCustomPrompt="1"/>
          </p:nvPr>
        </p:nvSpPr>
        <p:spPr>
          <a:xfrm>
            <a:off x="9580421" y="4089363"/>
            <a:ext cx="2103120" cy="2001080"/>
          </a:xfrm>
          <a:solidFill>
            <a:srgbClr val="303A44"/>
          </a:solidFill>
        </p:spPr>
        <p:txBody>
          <a:bodyPr lIns="182880" tIns="274320">
            <a:noAutofit/>
          </a:bodyPr>
          <a:lstStyle>
            <a:lvl1pPr>
              <a:defRPr sz="1400" b="1">
                <a:solidFill>
                  <a:srgbClr val="F5F3ED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04" name="Text Placeholder 54"/>
          <p:cNvSpPr>
            <a:spLocks noGrp="1"/>
          </p:cNvSpPr>
          <p:nvPr>
            <p:ph type="body" sz="quarter" idx="54" hasCustomPrompt="1"/>
          </p:nvPr>
        </p:nvSpPr>
        <p:spPr>
          <a:xfrm>
            <a:off x="9729372" y="4718803"/>
            <a:ext cx="1804987" cy="1195388"/>
          </a:xfrm>
        </p:spPr>
        <p:txBody>
          <a:bodyPr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descriptive text paragraph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1021112"/>
            <a:ext cx="579881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34221" y="1486446"/>
            <a:ext cx="21031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/>
          <p:cNvCxnSpPr/>
          <p:nvPr userDrawn="1"/>
        </p:nvCxnSpPr>
        <p:spPr>
          <a:xfrm>
            <a:off x="2802377" y="1486446"/>
            <a:ext cx="21031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7"/>
          <p:cNvCxnSpPr/>
          <p:nvPr userDrawn="1"/>
        </p:nvCxnSpPr>
        <p:spPr>
          <a:xfrm>
            <a:off x="5070532" y="1486446"/>
            <a:ext cx="21031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8"/>
          <p:cNvCxnSpPr/>
          <p:nvPr userDrawn="1"/>
        </p:nvCxnSpPr>
        <p:spPr>
          <a:xfrm>
            <a:off x="7320508" y="1486446"/>
            <a:ext cx="21031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8"/>
          <p:cNvCxnSpPr/>
          <p:nvPr userDrawn="1"/>
        </p:nvCxnSpPr>
        <p:spPr>
          <a:xfrm>
            <a:off x="9570855" y="1486446"/>
            <a:ext cx="2103120" cy="0"/>
          </a:xfrm>
          <a:prstGeom prst="line">
            <a:avLst/>
          </a:prstGeom>
          <a:ln>
            <a:solidFill>
              <a:srgbClr val="303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1085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2 topics overview –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rgbClr val="303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rgbClr val="F5F3E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2 topics overview – Slate box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02655" y="2108081"/>
            <a:ext cx="640080" cy="548640"/>
          </a:xfrm>
          <a:prstGeom prst="rect">
            <a:avLst/>
          </a:prstGeom>
          <a:noFill/>
        </p:spPr>
        <p:txBody>
          <a:bodyPr t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376775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8153298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39" hasCustomPrompt="1"/>
          </p:nvPr>
        </p:nvSpPr>
        <p:spPr>
          <a:xfrm>
            <a:off x="4376775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8153298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3D6DA39-FF24-8C4A-BF3A-DA98A8C68F4A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122651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7922739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479178" y="2108081"/>
            <a:ext cx="640080" cy="548640"/>
          </a:xfrm>
          <a:prstGeom prst="rect">
            <a:avLst/>
          </a:prstGeom>
          <a:noFill/>
        </p:spPr>
        <p:txBody>
          <a:bodyPr t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768925" y="3002870"/>
            <a:ext cx="3123162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781092" y="63451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27176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2 topics overview – Saffr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rgbClr val="E7C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2 topics overview – Saffron box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02655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376775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8153298" y="3002870"/>
            <a:ext cx="329184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39" hasCustomPrompt="1"/>
          </p:nvPr>
        </p:nvSpPr>
        <p:spPr>
          <a:xfrm>
            <a:off x="4376775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8153298" y="3797078"/>
            <a:ext cx="329184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1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3B00CC-BD4B-D846-AEEF-AFD8AA7BEFDA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122651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7922739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479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768925" y="3002870"/>
            <a:ext cx="3123162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71287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3 Topics Overview -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rgbClr val="303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45" hasCustomPrompt="1"/>
          </p:nvPr>
        </p:nvSpPr>
        <p:spPr>
          <a:xfrm>
            <a:off x="4376823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3553863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47" hasCustomPrompt="1"/>
          </p:nvPr>
        </p:nvSpPr>
        <p:spPr>
          <a:xfrm>
            <a:off x="636402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48" hasCustomPrompt="1"/>
          </p:nvPr>
        </p:nvSpPr>
        <p:spPr>
          <a:xfrm>
            <a:off x="9146644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9" hasCustomPrompt="1"/>
          </p:nvPr>
        </p:nvSpPr>
        <p:spPr>
          <a:xfrm>
            <a:off x="3553863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6364028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51" hasCustomPrompt="1"/>
          </p:nvPr>
        </p:nvSpPr>
        <p:spPr>
          <a:xfrm>
            <a:off x="9146644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279401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6110464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903591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3"/>
          <p:cNvSpPr>
            <a:spLocks noGrp="1" noChangeAspect="1"/>
          </p:cNvSpPr>
          <p:nvPr>
            <p:ph type="pic" sz="quarter" idx="52" hasCustomPrompt="1"/>
          </p:nvPr>
        </p:nvSpPr>
        <p:spPr>
          <a:xfrm>
            <a:off x="7186988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lang="en-US" sz="700" b="0" kern="1200" baseline="0" dirty="0" smtClean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29" name="Picture Placeholder 3"/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969604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lang="en-US" sz="700" b="0" kern="1200" baseline="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78175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3 topics overview – Slate box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2E016FA-6FC7-BA4A-A6BB-AA59FE7F775F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49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3 topics overview – cream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33539" y="1573068"/>
            <a:ext cx="11142158" cy="4561032"/>
          </a:xfrm>
          <a:prstGeom prst="rect">
            <a:avLst/>
          </a:prstGeom>
          <a:solidFill>
            <a:srgbClr val="E7C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3 topics overview – Saffron box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76823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indent="0" algn="ctr"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3553863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636402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2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9146644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3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39" hasCustomPrompt="1"/>
          </p:nvPr>
        </p:nvSpPr>
        <p:spPr>
          <a:xfrm>
            <a:off x="3553863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6364028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9146644" y="3797078"/>
            <a:ext cx="2286000" cy="20398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2444BE6-8FAB-BB4A-99D3-AF8960928058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279401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6110464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8903591" y="1980007"/>
            <a:ext cx="0" cy="3856881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3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186988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SzTx/>
              <a:buFontTx/>
              <a:buNone/>
              <a:defRPr lang="en-US" sz="700" b="0" kern="1200" baseline="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4" name="Picture Placeholder 3"/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9969604" y="2108081"/>
            <a:ext cx="640080" cy="548640"/>
          </a:xfrm>
          <a:prstGeom prst="rect">
            <a:avLst/>
          </a:prstGeom>
          <a:noFill/>
        </p:spPr>
        <p:txBody>
          <a:bodyPr tIns="9144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SzTx/>
              <a:buFontTx/>
              <a:buNone/>
              <a:defRPr lang="en-US" sz="700" b="0" kern="1200" baseline="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78175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ategory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288221" y="11561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en-US" sz="1200">
              <a:solidFill>
                <a:srgbClr val="303A44"/>
              </a:solidFill>
              <a:cs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14842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4 topics overview – Sla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rgbClr val="303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47" hasCustomPrompt="1"/>
          </p:nvPr>
        </p:nvSpPr>
        <p:spPr>
          <a:xfrm>
            <a:off x="439115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8" hasCustomPrompt="1"/>
          </p:nvPr>
        </p:nvSpPr>
        <p:spPr>
          <a:xfrm>
            <a:off x="356819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49" hasCustomPrompt="1"/>
          </p:nvPr>
        </p:nvSpPr>
        <p:spPr>
          <a:xfrm>
            <a:off x="635875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50" hasCustomPrompt="1"/>
          </p:nvPr>
        </p:nvSpPr>
        <p:spPr>
          <a:xfrm>
            <a:off x="9148171" y="3002870"/>
            <a:ext cx="2289246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51" hasCustomPrompt="1"/>
          </p:nvPr>
        </p:nvSpPr>
        <p:spPr>
          <a:xfrm>
            <a:off x="356819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52" hasCustomPrompt="1"/>
          </p:nvPr>
        </p:nvSpPr>
        <p:spPr>
          <a:xfrm>
            <a:off x="635421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53" hasCustomPrompt="1"/>
          </p:nvPr>
        </p:nvSpPr>
        <p:spPr>
          <a:xfrm>
            <a:off x="9148171" y="3797078"/>
            <a:ext cx="2289246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3308276" y="1980007"/>
            <a:ext cx="5595671" cy="3856881"/>
            <a:chOff x="3194473" y="1979629"/>
            <a:chExt cx="5796067" cy="3714161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194473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103570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8990540" y="1979629"/>
              <a:ext cx="0" cy="371416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Picture Placeholder 3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7177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0" name="Picture Placeholder 3"/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9972754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56" hasCustomPrompt="1"/>
          </p:nvPr>
        </p:nvSpPr>
        <p:spPr>
          <a:xfrm>
            <a:off x="1583622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rgbClr val="F5F3ED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7" hasCustomPrompt="1"/>
          </p:nvPr>
        </p:nvSpPr>
        <p:spPr>
          <a:xfrm>
            <a:off x="76066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F5F3ED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36" name="Text Placeholder 11"/>
          <p:cNvSpPr>
            <a:spLocks noGrp="1"/>
          </p:cNvSpPr>
          <p:nvPr>
            <p:ph type="body" sz="quarter" idx="58" hasCustomPrompt="1"/>
          </p:nvPr>
        </p:nvSpPr>
        <p:spPr>
          <a:xfrm>
            <a:off x="760662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F5F3ED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4 topics overview – Slate box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9F58041-E4B7-B84C-AF67-EB5A0FCFF1C8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54857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4 topics overview – cream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33539" y="1573067"/>
            <a:ext cx="11142158" cy="4561033"/>
          </a:xfrm>
          <a:prstGeom prst="rect">
            <a:avLst/>
          </a:prstGeom>
          <a:solidFill>
            <a:srgbClr val="E7C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4 topics overview – Saffron box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9115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3568198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635875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9148171" y="3002870"/>
            <a:ext cx="2289246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39" hasCustomPrompt="1"/>
          </p:nvPr>
        </p:nvSpPr>
        <p:spPr>
          <a:xfrm>
            <a:off x="356819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6354218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9148171" y="3797078"/>
            <a:ext cx="2289246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0250DD5-7175-544E-8A61-31ABE6C4E6F0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3308276" y="1980007"/>
            <a:ext cx="5595671" cy="3856881"/>
            <a:chOff x="3194473" y="1979629"/>
            <a:chExt cx="5796067" cy="3714161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3194473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6103570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8990540" y="1979629"/>
              <a:ext cx="0" cy="37141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Picture Placeholder 3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177178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4" name="Picture Placeholder 3"/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9972754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4" hasCustomPrompt="1"/>
          </p:nvPr>
        </p:nvSpPr>
        <p:spPr>
          <a:xfrm>
            <a:off x="1583622" y="2108081"/>
            <a:ext cx="640080" cy="548640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760662" y="3002870"/>
            <a:ext cx="2286000" cy="488474"/>
          </a:xfrm>
          <a:prstGeom prst="rect">
            <a:avLst/>
          </a:prstGeom>
        </p:spPr>
        <p:txBody>
          <a:bodyPr tIns="0" bIns="0" anchor="t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rgbClr val="303A44"/>
                </a:solidFill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FontTx/>
              <a:buNone/>
              <a:defRPr sz="1000" baseline="0">
                <a:solidFill>
                  <a:schemeClr val="accent6"/>
                </a:solidFill>
              </a:defRPr>
            </a:lvl2pPr>
            <a:lvl3pPr marL="34163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>
                <a:solidFill>
                  <a:schemeClr val="accent6"/>
                </a:solidFill>
              </a:defRPr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Header 1</a:t>
            </a:r>
          </a:p>
        </p:txBody>
      </p:sp>
      <p:sp>
        <p:nvSpPr>
          <p:cNvPr id="46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760662" y="3797078"/>
            <a:ext cx="2286000" cy="2032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4000"/>
              </a:lnSpc>
              <a:defRPr sz="1200">
                <a:solidFill>
                  <a:srgbClr val="000000"/>
                </a:solidFill>
              </a:defRPr>
            </a:lvl1pPr>
            <a:lvl2pPr marL="128270" indent="-128270">
              <a:defRPr sz="1200">
                <a:solidFill>
                  <a:schemeClr val="bg1"/>
                </a:solidFill>
              </a:defRPr>
            </a:lvl2pPr>
            <a:lvl3pPr marL="292735" indent="-128270">
              <a:defRPr sz="1200">
                <a:solidFill>
                  <a:schemeClr val="bg1"/>
                </a:solidFill>
              </a:defRPr>
            </a:lvl3pPr>
            <a:lvl4pPr marL="466725" indent="-128270">
              <a:defRPr sz="1200">
                <a:solidFill>
                  <a:schemeClr val="bg1"/>
                </a:solidFill>
              </a:defRPr>
            </a:lvl4pPr>
            <a:lvl5pPr marL="695325" indent="-182880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9296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4 boxes + circle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Placeholder 9"/>
          <p:cNvSpPr>
            <a:spLocks noGrp="1"/>
          </p:cNvSpPr>
          <p:nvPr>
            <p:ph type="body" sz="quarter" idx="67" hasCustomPrompt="1"/>
          </p:nvPr>
        </p:nvSpPr>
        <p:spPr>
          <a:xfrm>
            <a:off x="9126904" y="2631859"/>
            <a:ext cx="2536459" cy="1057578"/>
          </a:xfrm>
          <a:solidFill>
            <a:srgbClr val="303A44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rgbClr val="FFFFFF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55" name="Text Placeholder 9"/>
          <p:cNvSpPr>
            <a:spLocks noGrp="1"/>
          </p:cNvSpPr>
          <p:nvPr>
            <p:ph type="body" sz="quarter" idx="65" hasCustomPrompt="1"/>
          </p:nvPr>
        </p:nvSpPr>
        <p:spPr>
          <a:xfrm>
            <a:off x="6258759" y="2631859"/>
            <a:ext cx="2536459" cy="1057578"/>
          </a:xfrm>
          <a:solidFill>
            <a:srgbClr val="303A44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rgbClr val="FFFFFF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49" name="Text Placeholder 9"/>
          <p:cNvSpPr>
            <a:spLocks noGrp="1"/>
          </p:cNvSpPr>
          <p:nvPr>
            <p:ph type="body" sz="quarter" idx="63" hasCustomPrompt="1"/>
          </p:nvPr>
        </p:nvSpPr>
        <p:spPr>
          <a:xfrm>
            <a:off x="3392742" y="2631859"/>
            <a:ext cx="2536459" cy="1057578"/>
          </a:xfrm>
          <a:solidFill>
            <a:srgbClr val="303A44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rgbClr val="FFFFFF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55" hasCustomPrompt="1"/>
          </p:nvPr>
        </p:nvSpPr>
        <p:spPr>
          <a:xfrm>
            <a:off x="542457" y="2631859"/>
            <a:ext cx="2536459" cy="1057578"/>
          </a:xfrm>
          <a:solidFill>
            <a:srgbClr val="303A44"/>
          </a:solidFill>
        </p:spPr>
        <p:txBody>
          <a:bodyPr tIns="182880" anchor="ctr" anchorCtr="0">
            <a:noAutofit/>
          </a:bodyPr>
          <a:lstStyle>
            <a:lvl1pPr algn="ctr">
              <a:defRPr lang="en-US" sz="1200" b="1" kern="1200" dirty="0">
                <a:solidFill>
                  <a:srgbClr val="FFFFFF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58" name="Text Placeholder 47"/>
          <p:cNvSpPr>
            <a:spLocks noGrp="1"/>
          </p:cNvSpPr>
          <p:nvPr>
            <p:ph type="body" sz="quarter" idx="68" hasCustomPrompt="1"/>
          </p:nvPr>
        </p:nvSpPr>
        <p:spPr>
          <a:xfrm>
            <a:off x="10072601" y="2261114"/>
            <a:ext cx="642937" cy="642938"/>
          </a:xfrm>
          <a:prstGeom prst="ellipse">
            <a:avLst/>
          </a:prstGeom>
          <a:solidFill>
            <a:srgbClr val="303A44"/>
          </a:solidFill>
          <a:ln w="25400">
            <a:solidFill>
              <a:srgbClr val="F5F3ED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>
                <a:solidFill>
                  <a:srgbClr val="000000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56" name="Text Placeholder 47"/>
          <p:cNvSpPr>
            <a:spLocks noGrp="1"/>
          </p:cNvSpPr>
          <p:nvPr>
            <p:ph type="body" sz="quarter" idx="66" hasCustomPrompt="1"/>
          </p:nvPr>
        </p:nvSpPr>
        <p:spPr>
          <a:xfrm>
            <a:off x="7204456" y="2261114"/>
            <a:ext cx="642937" cy="642938"/>
          </a:xfrm>
          <a:prstGeom prst="ellipse">
            <a:avLst/>
          </a:prstGeom>
          <a:solidFill>
            <a:srgbClr val="303A44"/>
          </a:solidFill>
          <a:ln w="25400">
            <a:solidFill>
              <a:srgbClr val="F5F3ED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>
                <a:solidFill>
                  <a:srgbClr val="000000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54" name="Text Placeholder 47"/>
          <p:cNvSpPr>
            <a:spLocks noGrp="1"/>
          </p:cNvSpPr>
          <p:nvPr>
            <p:ph type="body" sz="quarter" idx="64" hasCustomPrompt="1"/>
          </p:nvPr>
        </p:nvSpPr>
        <p:spPr>
          <a:xfrm>
            <a:off x="4338439" y="2261114"/>
            <a:ext cx="642937" cy="642938"/>
          </a:xfrm>
          <a:prstGeom prst="ellipse">
            <a:avLst/>
          </a:prstGeom>
          <a:solidFill>
            <a:srgbClr val="303A44"/>
          </a:solidFill>
          <a:ln w="25400">
            <a:solidFill>
              <a:srgbClr val="F5F3ED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>
                <a:solidFill>
                  <a:srgbClr val="000000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62" hasCustomPrompt="1"/>
          </p:nvPr>
        </p:nvSpPr>
        <p:spPr>
          <a:xfrm>
            <a:off x="1488154" y="2261114"/>
            <a:ext cx="642937" cy="642938"/>
          </a:xfrm>
          <a:prstGeom prst="ellipse">
            <a:avLst/>
          </a:prstGeom>
          <a:solidFill>
            <a:srgbClr val="303A44"/>
          </a:solidFill>
          <a:ln w="25400">
            <a:solidFill>
              <a:srgbClr val="F5F3ED"/>
            </a:solidFill>
          </a:ln>
        </p:spPr>
        <p:txBody>
          <a:bodyPr tIns="0" bIns="274320" anchor="ctr" anchorCtr="0">
            <a:noAutofit/>
          </a:bodyPr>
          <a:lstStyle>
            <a:lvl1pPr algn="ctr">
              <a:defRPr sz="200">
                <a:solidFill>
                  <a:srgbClr val="000000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4 boxes + circles with icon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39" hasCustomPrompt="1"/>
          </p:nvPr>
        </p:nvSpPr>
        <p:spPr>
          <a:xfrm>
            <a:off x="542457" y="3934673"/>
            <a:ext cx="2492099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3396587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6278598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42" hasCustomPrompt="1"/>
          </p:nvPr>
        </p:nvSpPr>
        <p:spPr>
          <a:xfrm>
            <a:off x="9144449" y="3934673"/>
            <a:ext cx="2487816" cy="1648773"/>
          </a:xfrm>
          <a:prstGeom prst="rect">
            <a:avLst/>
          </a:prstGeom>
        </p:spPr>
        <p:txBody>
          <a:bodyPr vert="horz" lIns="137160" tIns="0" rIns="137160" bIns="0" rtlCol="0">
            <a:noAutofit/>
          </a:bodyPr>
          <a:lstStyle>
            <a:lvl1pPr>
              <a:defRPr lang="en-US" sz="1200" kern="1200" dirty="0">
                <a:solidFill>
                  <a:srgbClr val="000000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8270" indent="-128270">
              <a:defRPr sz="1200"/>
            </a:lvl2pPr>
            <a:lvl3pPr marL="292735" indent="-128270">
              <a:defRPr sz="1200"/>
            </a:lvl3pPr>
            <a:lvl4pPr marL="466725" indent="-128270">
              <a:defRPr sz="1200"/>
            </a:lvl4pPr>
            <a:lvl5pPr marL="695325" indent="-182880"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8" name="Date Placeholder 16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9D3F47A-0A18-894C-A58B-5B231D1D4363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50" name="Picture Placeholder 49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1586585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80000"/>
              </a:lnSpc>
              <a:defRPr lang="en-US" sz="700" b="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0" name="Picture Placeholder 49"/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4436870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2" name="Picture Placeholder 49"/>
          <p:cNvSpPr>
            <a:spLocks noGrp="1" noChangeAspect="1"/>
          </p:cNvSpPr>
          <p:nvPr>
            <p:ph type="pic" sz="quarter" idx="58" hasCustomPrompt="1"/>
          </p:nvPr>
        </p:nvSpPr>
        <p:spPr>
          <a:xfrm>
            <a:off x="7302887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4" name="Picture Placeholder 49"/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10171032" y="2352554"/>
            <a:ext cx="457200" cy="457200"/>
          </a:xfrm>
          <a:prstGeom prst="ellipse">
            <a:avLst/>
          </a:prstGeom>
          <a:noFill/>
          <a:ln w="25400">
            <a:noFill/>
          </a:ln>
        </p:spPr>
        <p:txBody>
          <a:bodyPr tIns="0" bIns="274320" anchor="ctr" anchorCtr="0">
            <a:noAutofit/>
          </a:bodyPr>
          <a:lstStyle>
            <a:lvl1pPr algn="ctr">
              <a:lnSpc>
                <a:spcPct val="100000"/>
              </a:lnSpc>
              <a:defRPr lang="en-US" sz="700" b="0" kern="1200" dirty="0">
                <a:solidFill>
                  <a:srgbClr val="F5F3ED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Tx/>
              <a:buNone/>
            </a:pPr>
            <a:r>
              <a:rPr lang="en-US"/>
              <a:t>Click to add icon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55450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5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4349750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4516148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2922123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922123" y="4349750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922123" y="4516148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5301788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301788" y="4349750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5301788" y="4516148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8" name="Picture Placeholder 12"/>
          <p:cNvSpPr>
            <a:spLocks noGrp="1"/>
          </p:cNvSpPr>
          <p:nvPr>
            <p:ph type="pic" sz="quarter" idx="23" hasCustomPrompt="1"/>
          </p:nvPr>
        </p:nvSpPr>
        <p:spPr>
          <a:xfrm>
            <a:off x="7681452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7681452" y="4349750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7681452" y="4516148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4" name="Picture Placeholder 15"/>
          <p:cNvSpPr>
            <a:spLocks noGrp="1"/>
          </p:cNvSpPr>
          <p:nvPr>
            <p:ph type="pic" sz="quarter" idx="26" hasCustomPrompt="1"/>
          </p:nvPr>
        </p:nvSpPr>
        <p:spPr>
          <a:xfrm>
            <a:off x="10061115" y="2593975"/>
            <a:ext cx="1600617" cy="1600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10061115" y="4349750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10061115" y="4516148"/>
            <a:ext cx="1600617" cy="153888"/>
          </a:xfrm>
          <a:prstGeom prst="rect">
            <a:avLst/>
          </a:prstGeom>
          <a:solidFill>
            <a:srgbClr val="F5F3ED"/>
          </a:solidFill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5" name="Date Placeholder 18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2921FEB-FCCA-EE44-A229-4D425E212CB9}" type="datetime3">
              <a:rPr lang="en-GB" smtClean="0"/>
              <a:t>2 October, 2025</a:t>
            </a:fld>
            <a:endParaRPr lang="en-GB"/>
          </a:p>
        </p:txBody>
      </p:sp>
      <p:sp>
        <p:nvSpPr>
          <p:cNvPr id="23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53951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7536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10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2922122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92212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92212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5301787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30178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530178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3" hasCustomPrompt="1"/>
          </p:nvPr>
        </p:nvSpPr>
        <p:spPr>
          <a:xfrm>
            <a:off x="7681451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7681452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7681452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Picture Placeholder 15"/>
          <p:cNvSpPr>
            <a:spLocks noGrp="1"/>
          </p:cNvSpPr>
          <p:nvPr>
            <p:ph type="pic" sz="quarter" idx="26" hasCustomPrompt="1"/>
          </p:nvPr>
        </p:nvSpPr>
        <p:spPr>
          <a:xfrm>
            <a:off x="10061115" y="1662113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10061115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10061115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5" name="Picture Placeholder 18"/>
          <p:cNvSpPr>
            <a:spLocks noGrp="1"/>
          </p:cNvSpPr>
          <p:nvPr>
            <p:ph type="pic" sz="quarter" idx="29" hasCustomPrompt="1"/>
          </p:nvPr>
        </p:nvSpPr>
        <p:spPr>
          <a:xfrm>
            <a:off x="542458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542458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5" name="Text Placeholder 20"/>
          <p:cNvSpPr>
            <a:spLocks noGrp="1"/>
          </p:cNvSpPr>
          <p:nvPr>
            <p:ph type="body" sz="quarter" idx="31" hasCustomPrompt="1"/>
          </p:nvPr>
        </p:nvSpPr>
        <p:spPr>
          <a:xfrm>
            <a:off x="54245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7" name="Picture Placeholder 21"/>
          <p:cNvSpPr>
            <a:spLocks noGrp="1"/>
          </p:cNvSpPr>
          <p:nvPr>
            <p:ph type="pic" sz="quarter" idx="32" hasCustomPrompt="1"/>
          </p:nvPr>
        </p:nvSpPr>
        <p:spPr>
          <a:xfrm>
            <a:off x="2922123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2922916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3"/>
          <p:cNvSpPr>
            <a:spLocks noGrp="1"/>
          </p:cNvSpPr>
          <p:nvPr>
            <p:ph type="body" sz="quarter" idx="34" hasCustomPrompt="1"/>
          </p:nvPr>
        </p:nvSpPr>
        <p:spPr>
          <a:xfrm>
            <a:off x="292212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3" name="Picture Placeholder 24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5301788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5303374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37" hasCustomPrompt="1"/>
          </p:nvPr>
        </p:nvSpPr>
        <p:spPr>
          <a:xfrm>
            <a:off x="530178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9" name="Picture Placeholder 27"/>
          <p:cNvSpPr>
            <a:spLocks noGrp="1"/>
          </p:cNvSpPr>
          <p:nvPr>
            <p:ph type="pic" sz="quarter" idx="38" hasCustomPrompt="1"/>
          </p:nvPr>
        </p:nvSpPr>
        <p:spPr>
          <a:xfrm>
            <a:off x="7681452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/>
          <p:cNvSpPr>
            <a:spLocks noGrp="1"/>
          </p:cNvSpPr>
          <p:nvPr>
            <p:ph type="body" sz="quarter" idx="39" hasCustomPrompt="1"/>
          </p:nvPr>
        </p:nvSpPr>
        <p:spPr>
          <a:xfrm>
            <a:off x="7683832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3" name="Text Placeholder 29"/>
          <p:cNvSpPr>
            <a:spLocks noGrp="1"/>
          </p:cNvSpPr>
          <p:nvPr>
            <p:ph type="body" sz="quarter" idx="40" hasCustomPrompt="1"/>
          </p:nvPr>
        </p:nvSpPr>
        <p:spPr>
          <a:xfrm>
            <a:off x="7681452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5" name="Picture Placeholder 30"/>
          <p:cNvSpPr>
            <a:spLocks noGrp="1"/>
          </p:cNvSpPr>
          <p:nvPr>
            <p:ph type="pic" sz="quarter" idx="41" hasCustomPrompt="1"/>
          </p:nvPr>
        </p:nvSpPr>
        <p:spPr>
          <a:xfrm>
            <a:off x="10061115" y="3994150"/>
            <a:ext cx="1600617" cy="16002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/>
          <p:cNvSpPr>
            <a:spLocks noGrp="1"/>
          </p:cNvSpPr>
          <p:nvPr>
            <p:ph type="body" sz="quarter" idx="42" hasCustomPrompt="1"/>
          </p:nvPr>
        </p:nvSpPr>
        <p:spPr>
          <a:xfrm>
            <a:off x="10064291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5" name="Text Placeholder 32"/>
          <p:cNvSpPr>
            <a:spLocks noGrp="1"/>
          </p:cNvSpPr>
          <p:nvPr>
            <p:ph type="body" sz="quarter" idx="43" hasCustomPrompt="1"/>
          </p:nvPr>
        </p:nvSpPr>
        <p:spPr>
          <a:xfrm>
            <a:off x="10061115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1" name="Date Placeholder 33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7B12A27-0C47-814E-A0E0-27C3617F84C5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9" name="Footer Placeholder 34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9567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12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542458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42458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42458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2436652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43665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43665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4346214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346215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4346215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3" hasCustomPrompt="1"/>
          </p:nvPr>
        </p:nvSpPr>
        <p:spPr>
          <a:xfrm>
            <a:off x="6258952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6258953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6258953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Picture Placeholder 15"/>
          <p:cNvSpPr>
            <a:spLocks noGrp="1"/>
          </p:cNvSpPr>
          <p:nvPr>
            <p:ph type="pic" sz="quarter" idx="26" hasCustomPrompt="1"/>
          </p:nvPr>
        </p:nvSpPr>
        <p:spPr>
          <a:xfrm>
            <a:off x="8153937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8153937" y="3338482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8153937" y="3511246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5" name="Picture Placeholder 18"/>
          <p:cNvSpPr>
            <a:spLocks noGrp="1"/>
          </p:cNvSpPr>
          <p:nvPr>
            <p:ph type="pic" sz="quarter" idx="29" hasCustomPrompt="1"/>
          </p:nvPr>
        </p:nvSpPr>
        <p:spPr>
          <a:xfrm>
            <a:off x="542458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542458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5" name="Text Placeholder 20"/>
          <p:cNvSpPr>
            <a:spLocks noGrp="1"/>
          </p:cNvSpPr>
          <p:nvPr>
            <p:ph type="body" sz="quarter" idx="31" hasCustomPrompt="1"/>
          </p:nvPr>
        </p:nvSpPr>
        <p:spPr>
          <a:xfrm>
            <a:off x="542458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7" name="Picture Placeholder 21"/>
          <p:cNvSpPr>
            <a:spLocks noGrp="1"/>
          </p:cNvSpPr>
          <p:nvPr>
            <p:ph type="pic" sz="quarter" idx="32" hasCustomPrompt="1"/>
          </p:nvPr>
        </p:nvSpPr>
        <p:spPr>
          <a:xfrm>
            <a:off x="2436653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2437446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3"/>
          <p:cNvSpPr>
            <a:spLocks noGrp="1"/>
          </p:cNvSpPr>
          <p:nvPr>
            <p:ph type="body" sz="quarter" idx="34" hasCustomPrompt="1"/>
          </p:nvPr>
        </p:nvSpPr>
        <p:spPr>
          <a:xfrm>
            <a:off x="243665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3" name="Picture Placeholder 24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346215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347801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37" hasCustomPrompt="1"/>
          </p:nvPr>
        </p:nvSpPr>
        <p:spPr>
          <a:xfrm>
            <a:off x="4346215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9" name="Picture Placeholder 27"/>
          <p:cNvSpPr>
            <a:spLocks noGrp="1"/>
          </p:cNvSpPr>
          <p:nvPr>
            <p:ph type="pic" sz="quarter" idx="38" hasCustomPrompt="1"/>
          </p:nvPr>
        </p:nvSpPr>
        <p:spPr>
          <a:xfrm>
            <a:off x="6258953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/>
          <p:cNvSpPr>
            <a:spLocks noGrp="1"/>
          </p:cNvSpPr>
          <p:nvPr>
            <p:ph type="body" sz="quarter" idx="39" hasCustomPrompt="1"/>
          </p:nvPr>
        </p:nvSpPr>
        <p:spPr>
          <a:xfrm>
            <a:off x="6261333" y="567206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3" name="Text Placeholder 29"/>
          <p:cNvSpPr>
            <a:spLocks noGrp="1"/>
          </p:cNvSpPr>
          <p:nvPr>
            <p:ph type="body" sz="quarter" idx="40" hasCustomPrompt="1"/>
          </p:nvPr>
        </p:nvSpPr>
        <p:spPr>
          <a:xfrm>
            <a:off x="6258953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5" name="Picture Placeholder 30"/>
          <p:cNvSpPr>
            <a:spLocks noGrp="1"/>
          </p:cNvSpPr>
          <p:nvPr>
            <p:ph type="pic" sz="quarter" idx="41" hasCustomPrompt="1"/>
          </p:nvPr>
        </p:nvSpPr>
        <p:spPr>
          <a:xfrm>
            <a:off x="8153937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/>
          <p:cNvSpPr>
            <a:spLocks noGrp="1"/>
          </p:cNvSpPr>
          <p:nvPr>
            <p:ph type="body" sz="quarter" idx="42" hasCustomPrompt="1"/>
          </p:nvPr>
        </p:nvSpPr>
        <p:spPr>
          <a:xfrm>
            <a:off x="8157113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5" name="Text Placeholder 32"/>
          <p:cNvSpPr>
            <a:spLocks noGrp="1"/>
          </p:cNvSpPr>
          <p:nvPr>
            <p:ph type="body" sz="quarter" idx="43" hasCustomPrompt="1"/>
          </p:nvPr>
        </p:nvSpPr>
        <p:spPr>
          <a:xfrm>
            <a:off x="8153937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1" name="Date Placeholder 33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AA53803-7777-AC4A-BF5E-34B4E07899F7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9" name="Footer Placeholder 34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3" name="Picture Placeholder 15"/>
          <p:cNvSpPr>
            <a:spLocks noGrp="1"/>
          </p:cNvSpPr>
          <p:nvPr>
            <p:ph type="pic" sz="quarter" idx="44" hasCustomPrompt="1"/>
          </p:nvPr>
        </p:nvSpPr>
        <p:spPr>
          <a:xfrm>
            <a:off x="10055837" y="1662113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" name="Text Placeholder 16"/>
          <p:cNvSpPr>
            <a:spLocks noGrp="1"/>
          </p:cNvSpPr>
          <p:nvPr>
            <p:ph type="body" sz="quarter" idx="45" hasCustomPrompt="1"/>
          </p:nvPr>
        </p:nvSpPr>
        <p:spPr>
          <a:xfrm>
            <a:off x="10055837" y="3338482"/>
            <a:ext cx="1600617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10055837" y="3511246"/>
            <a:ext cx="1600617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" name="Picture Placeholder 30"/>
          <p:cNvSpPr>
            <a:spLocks noGrp="1"/>
          </p:cNvSpPr>
          <p:nvPr>
            <p:ph type="pic" sz="quarter" idx="47" hasCustomPrompt="1"/>
          </p:nvPr>
        </p:nvSpPr>
        <p:spPr>
          <a:xfrm>
            <a:off x="10055837" y="3994150"/>
            <a:ext cx="1600617" cy="1600200"/>
          </a:xfrm>
          <a:prstGeom prst="rect">
            <a:avLst/>
          </a:prstGeom>
          <a:noFill/>
        </p:spPr>
        <p:txBody>
          <a:bodyPr bIns="82296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" name="Text Placeholder 31"/>
          <p:cNvSpPr>
            <a:spLocks noGrp="1"/>
          </p:cNvSpPr>
          <p:nvPr>
            <p:ph type="body" sz="quarter" idx="48" hasCustomPrompt="1"/>
          </p:nvPr>
        </p:nvSpPr>
        <p:spPr>
          <a:xfrm>
            <a:off x="10059013" y="5672068"/>
            <a:ext cx="1597441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2" name="Text Placeholder 32"/>
          <p:cNvSpPr>
            <a:spLocks noGrp="1"/>
          </p:cNvSpPr>
          <p:nvPr>
            <p:ph type="body" sz="quarter" idx="49" hasCustomPrompt="1"/>
          </p:nvPr>
        </p:nvSpPr>
        <p:spPr>
          <a:xfrm>
            <a:off x="10055837" y="5844928"/>
            <a:ext cx="1600617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37592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14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3539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33539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33539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2163812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163813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163813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3794086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3794086" y="3253865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794086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2" name="Picture Placeholder 12"/>
          <p:cNvSpPr>
            <a:spLocks noGrp="1"/>
          </p:cNvSpPr>
          <p:nvPr>
            <p:ph type="pic" sz="quarter" idx="23" hasCustomPrompt="1"/>
          </p:nvPr>
        </p:nvSpPr>
        <p:spPr>
          <a:xfrm>
            <a:off x="5424359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5424360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5424360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8" name="Picture Placeholder 15"/>
          <p:cNvSpPr>
            <a:spLocks noGrp="1"/>
          </p:cNvSpPr>
          <p:nvPr>
            <p:ph type="pic" sz="quarter" idx="26" hasCustomPrompt="1"/>
          </p:nvPr>
        </p:nvSpPr>
        <p:spPr>
          <a:xfrm>
            <a:off x="7054633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7054633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7054633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18"/>
          <p:cNvSpPr>
            <a:spLocks noGrp="1"/>
          </p:cNvSpPr>
          <p:nvPr>
            <p:ph type="pic" sz="quarter" idx="29" hasCustomPrompt="1"/>
          </p:nvPr>
        </p:nvSpPr>
        <p:spPr>
          <a:xfrm>
            <a:off x="8684907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6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8684907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31" hasCustomPrompt="1"/>
          </p:nvPr>
        </p:nvSpPr>
        <p:spPr>
          <a:xfrm>
            <a:off x="8684907" y="3436719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0" name="Picture Placeholder 21"/>
          <p:cNvSpPr>
            <a:spLocks noGrp="1"/>
          </p:cNvSpPr>
          <p:nvPr>
            <p:ph type="pic" sz="quarter" idx="32" hasCustomPrompt="1"/>
          </p:nvPr>
        </p:nvSpPr>
        <p:spPr>
          <a:xfrm>
            <a:off x="10315181" y="1798419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10315181" y="3260443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4" name="Text Placeholder 23"/>
          <p:cNvSpPr>
            <a:spLocks noGrp="1"/>
          </p:cNvSpPr>
          <p:nvPr>
            <p:ph type="body" sz="quarter" idx="34" hasCustomPrompt="1"/>
          </p:nvPr>
        </p:nvSpPr>
        <p:spPr>
          <a:xfrm>
            <a:off x="10315181" y="3436719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6" name="Picture Placeholder 24"/>
          <p:cNvSpPr>
            <a:spLocks noGrp="1"/>
          </p:cNvSpPr>
          <p:nvPr>
            <p:ph type="pic" sz="quarter" idx="35" hasCustomPrompt="1"/>
          </p:nvPr>
        </p:nvSpPr>
        <p:spPr>
          <a:xfrm>
            <a:off x="533539" y="4049716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533539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37" hasCustomPrompt="1"/>
          </p:nvPr>
        </p:nvSpPr>
        <p:spPr>
          <a:xfrm>
            <a:off x="533539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59" name="Picture Placeholder 27"/>
          <p:cNvSpPr>
            <a:spLocks noGrp="1"/>
          </p:cNvSpPr>
          <p:nvPr>
            <p:ph type="pic" sz="quarter" idx="38" hasCustomPrompt="1"/>
          </p:nvPr>
        </p:nvSpPr>
        <p:spPr>
          <a:xfrm>
            <a:off x="2163812" y="4049716"/>
            <a:ext cx="1346551" cy="1346200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28"/>
          <p:cNvSpPr>
            <a:spLocks noGrp="1"/>
          </p:cNvSpPr>
          <p:nvPr>
            <p:ph type="body" sz="quarter" idx="39" hasCustomPrompt="1"/>
          </p:nvPr>
        </p:nvSpPr>
        <p:spPr>
          <a:xfrm>
            <a:off x="2163812" y="5511106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29"/>
          <p:cNvSpPr>
            <a:spLocks noGrp="1"/>
          </p:cNvSpPr>
          <p:nvPr>
            <p:ph type="body" sz="quarter" idx="40" hasCustomPrompt="1"/>
          </p:nvPr>
        </p:nvSpPr>
        <p:spPr>
          <a:xfrm>
            <a:off x="2163813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65" name="Picture Placeholder 30"/>
          <p:cNvSpPr>
            <a:spLocks noGrp="1"/>
          </p:cNvSpPr>
          <p:nvPr>
            <p:ph type="pic" sz="quarter" idx="41" hasCustomPrompt="1"/>
          </p:nvPr>
        </p:nvSpPr>
        <p:spPr>
          <a:xfrm>
            <a:off x="3794086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3" name="Text Placeholder 31"/>
          <p:cNvSpPr>
            <a:spLocks noGrp="1"/>
          </p:cNvSpPr>
          <p:nvPr>
            <p:ph type="body" sz="quarter" idx="42" hasCustomPrompt="1"/>
          </p:nvPr>
        </p:nvSpPr>
        <p:spPr>
          <a:xfrm>
            <a:off x="3794086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2"/>
          <p:cNvSpPr>
            <a:spLocks noGrp="1"/>
          </p:cNvSpPr>
          <p:nvPr>
            <p:ph type="body" sz="quarter" idx="43" hasCustomPrompt="1"/>
          </p:nvPr>
        </p:nvSpPr>
        <p:spPr>
          <a:xfrm>
            <a:off x="3794086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77" name="Picture Placeholder 33"/>
          <p:cNvSpPr>
            <a:spLocks noGrp="1"/>
          </p:cNvSpPr>
          <p:nvPr>
            <p:ph type="pic" sz="quarter" idx="44" hasCustomPrompt="1"/>
          </p:nvPr>
        </p:nvSpPr>
        <p:spPr>
          <a:xfrm>
            <a:off x="5424360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4"/>
          <p:cNvSpPr>
            <a:spLocks noGrp="1"/>
          </p:cNvSpPr>
          <p:nvPr>
            <p:ph type="body" sz="quarter" idx="45" hasCustomPrompt="1"/>
          </p:nvPr>
        </p:nvSpPr>
        <p:spPr>
          <a:xfrm>
            <a:off x="5424360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5"/>
          <p:cNvSpPr>
            <a:spLocks noGrp="1"/>
          </p:cNvSpPr>
          <p:nvPr>
            <p:ph type="body" sz="quarter" idx="46" hasCustomPrompt="1"/>
          </p:nvPr>
        </p:nvSpPr>
        <p:spPr>
          <a:xfrm>
            <a:off x="5424359" y="5683000"/>
            <a:ext cx="1346551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3" name="Picture Placeholder 36"/>
          <p:cNvSpPr>
            <a:spLocks noGrp="1"/>
          </p:cNvSpPr>
          <p:nvPr>
            <p:ph type="pic" sz="quarter" idx="47" hasCustomPrompt="1"/>
          </p:nvPr>
        </p:nvSpPr>
        <p:spPr>
          <a:xfrm>
            <a:off x="7054633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37"/>
          <p:cNvSpPr>
            <a:spLocks noGrp="1"/>
          </p:cNvSpPr>
          <p:nvPr>
            <p:ph type="body" sz="quarter" idx="48" hasCustomPrompt="1"/>
          </p:nvPr>
        </p:nvSpPr>
        <p:spPr>
          <a:xfrm>
            <a:off x="7054633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38"/>
          <p:cNvSpPr>
            <a:spLocks noGrp="1"/>
          </p:cNvSpPr>
          <p:nvPr>
            <p:ph type="body" sz="quarter" idx="49" hasCustomPrompt="1"/>
          </p:nvPr>
        </p:nvSpPr>
        <p:spPr>
          <a:xfrm>
            <a:off x="7054633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02" name="Picture Placeholder 39"/>
          <p:cNvSpPr>
            <a:spLocks noGrp="1"/>
          </p:cNvSpPr>
          <p:nvPr>
            <p:ph type="pic" sz="quarter" idx="50" hasCustomPrompt="1"/>
          </p:nvPr>
        </p:nvSpPr>
        <p:spPr>
          <a:xfrm>
            <a:off x="8684907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4" name="Text Placeholder 40"/>
          <p:cNvSpPr>
            <a:spLocks noGrp="1"/>
          </p:cNvSpPr>
          <p:nvPr>
            <p:ph type="body" sz="quarter" idx="51" hasCustomPrompt="1"/>
          </p:nvPr>
        </p:nvSpPr>
        <p:spPr>
          <a:xfrm>
            <a:off x="8684907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08" name="Text Placeholder 41"/>
          <p:cNvSpPr>
            <a:spLocks noGrp="1"/>
          </p:cNvSpPr>
          <p:nvPr>
            <p:ph type="body" sz="quarter" idx="52" hasCustomPrompt="1"/>
          </p:nvPr>
        </p:nvSpPr>
        <p:spPr>
          <a:xfrm>
            <a:off x="8684907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12" name="Picture Placeholder 42"/>
          <p:cNvSpPr>
            <a:spLocks noGrp="1"/>
          </p:cNvSpPr>
          <p:nvPr>
            <p:ph type="pic" sz="quarter" idx="53" hasCustomPrompt="1"/>
          </p:nvPr>
        </p:nvSpPr>
        <p:spPr>
          <a:xfrm>
            <a:off x="10315181" y="4049716"/>
            <a:ext cx="1344518" cy="1344168"/>
          </a:xfrm>
          <a:prstGeom prst="rect">
            <a:avLst/>
          </a:prstGeom>
          <a:noFill/>
        </p:spPr>
        <p:txBody>
          <a:bodyPr bIns="73152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0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16" name="Text Placeholder 43"/>
          <p:cNvSpPr>
            <a:spLocks noGrp="1"/>
          </p:cNvSpPr>
          <p:nvPr>
            <p:ph type="body" sz="quarter" idx="54" hasCustomPrompt="1"/>
          </p:nvPr>
        </p:nvSpPr>
        <p:spPr>
          <a:xfrm>
            <a:off x="10315181" y="5511106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20" name="Text Placeholder 44"/>
          <p:cNvSpPr>
            <a:spLocks noGrp="1"/>
          </p:cNvSpPr>
          <p:nvPr>
            <p:ph type="body" sz="quarter" idx="55" hasCustomPrompt="1"/>
          </p:nvPr>
        </p:nvSpPr>
        <p:spPr>
          <a:xfrm>
            <a:off x="10315181" y="5683000"/>
            <a:ext cx="1344518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Date Placeholder 4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E0D1DF2-D40A-074D-A6A2-7F43C1BC657C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0" name="Footer Placeholder 4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45637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16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3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3539" y="2029377"/>
            <a:ext cx="1188720" cy="118841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33539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33539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0" name="Picture Placeholder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952710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71881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Picture Placeholder 1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791052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8" name="Picture Placeholder 1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210223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4" name="Picture Placeholder 18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629394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Picture Placeholder 21"/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9048565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2" name="Date Placeholder 4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7F08DC8-B83B-204C-A56D-D41478F95502}" type="datetime3">
              <a:rPr lang="en-GB" smtClean="0"/>
              <a:t>2 October, 2025</a:t>
            </a:fld>
            <a:endParaRPr lang="en-GB"/>
          </a:p>
        </p:txBody>
      </p:sp>
      <p:sp>
        <p:nvSpPr>
          <p:cNvPr id="50" name="Footer Placeholder 4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4" name="Picture Placeholder 21"/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10467734" y="2029377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1932848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58" hasCustomPrompt="1"/>
          </p:nvPr>
        </p:nvSpPr>
        <p:spPr>
          <a:xfrm>
            <a:off x="1932848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3359866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60" hasCustomPrompt="1"/>
          </p:nvPr>
        </p:nvSpPr>
        <p:spPr>
          <a:xfrm>
            <a:off x="3359866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4786884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62" hasCustomPrompt="1"/>
          </p:nvPr>
        </p:nvSpPr>
        <p:spPr>
          <a:xfrm>
            <a:off x="4786884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6158485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64" hasCustomPrompt="1"/>
          </p:nvPr>
        </p:nvSpPr>
        <p:spPr>
          <a:xfrm>
            <a:off x="6158485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7599358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66" hasCustomPrompt="1"/>
          </p:nvPr>
        </p:nvSpPr>
        <p:spPr>
          <a:xfrm>
            <a:off x="7599358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67" hasCustomPrompt="1"/>
          </p:nvPr>
        </p:nvSpPr>
        <p:spPr>
          <a:xfrm>
            <a:off x="9054085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68" hasCustomPrompt="1"/>
          </p:nvPr>
        </p:nvSpPr>
        <p:spPr>
          <a:xfrm>
            <a:off x="9054085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69" hasCustomPrompt="1"/>
          </p:nvPr>
        </p:nvSpPr>
        <p:spPr>
          <a:xfrm>
            <a:off x="10453394" y="3356631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70" hasCustomPrompt="1"/>
          </p:nvPr>
        </p:nvSpPr>
        <p:spPr>
          <a:xfrm>
            <a:off x="10453394" y="353290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37" name="Picture Placeholder 3"/>
          <p:cNvSpPr>
            <a:spLocks noGrp="1" noChangeAspect="1"/>
          </p:cNvSpPr>
          <p:nvPr>
            <p:ph type="pic" sz="quarter" idx="71" hasCustomPrompt="1"/>
          </p:nvPr>
        </p:nvSpPr>
        <p:spPr>
          <a:xfrm>
            <a:off x="533539" y="4121413"/>
            <a:ext cx="1188720" cy="118841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533539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73" hasCustomPrompt="1"/>
          </p:nvPr>
        </p:nvSpPr>
        <p:spPr>
          <a:xfrm>
            <a:off x="533539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43" name="Picture Placeholder 6"/>
          <p:cNvSpPr>
            <a:spLocks noGrp="1" noChangeAspect="1"/>
          </p:cNvSpPr>
          <p:nvPr>
            <p:ph type="pic" sz="quarter" idx="74" hasCustomPrompt="1"/>
          </p:nvPr>
        </p:nvSpPr>
        <p:spPr>
          <a:xfrm>
            <a:off x="1952710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5" name="Picture Placeholder 9"/>
          <p:cNvSpPr>
            <a:spLocks noGrp="1" noChangeAspect="1"/>
          </p:cNvSpPr>
          <p:nvPr>
            <p:ph type="pic" sz="quarter" idx="75" hasCustomPrompt="1"/>
          </p:nvPr>
        </p:nvSpPr>
        <p:spPr>
          <a:xfrm>
            <a:off x="3371881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7" name="Picture Placeholder 12"/>
          <p:cNvSpPr>
            <a:spLocks noGrp="1" noChangeAspect="1"/>
          </p:cNvSpPr>
          <p:nvPr>
            <p:ph type="pic" sz="quarter" idx="76" hasCustomPrompt="1"/>
          </p:nvPr>
        </p:nvSpPr>
        <p:spPr>
          <a:xfrm>
            <a:off x="4791052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Picture Placeholder 15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6210223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3" name="Picture Placeholder 18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7629394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Picture Placeholder 21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9048565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6" name="Picture Placeholder 21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10467734" y="4121413"/>
            <a:ext cx="1188720" cy="118872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8" name="Text Placeholder 4"/>
          <p:cNvSpPr>
            <a:spLocks noGrp="1"/>
          </p:cNvSpPr>
          <p:nvPr>
            <p:ph type="body" sz="quarter" idx="81" hasCustomPrompt="1"/>
          </p:nvPr>
        </p:nvSpPr>
        <p:spPr>
          <a:xfrm>
            <a:off x="1932848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82" hasCustomPrompt="1"/>
          </p:nvPr>
        </p:nvSpPr>
        <p:spPr>
          <a:xfrm>
            <a:off x="1932848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2" name="Text Placeholder 4"/>
          <p:cNvSpPr>
            <a:spLocks noGrp="1"/>
          </p:cNvSpPr>
          <p:nvPr>
            <p:ph type="body" sz="quarter" idx="83" hasCustomPrompt="1"/>
          </p:nvPr>
        </p:nvSpPr>
        <p:spPr>
          <a:xfrm>
            <a:off x="3359866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4" name="Text Placeholder 5"/>
          <p:cNvSpPr>
            <a:spLocks noGrp="1"/>
          </p:cNvSpPr>
          <p:nvPr>
            <p:ph type="body" sz="quarter" idx="84" hasCustomPrompt="1"/>
          </p:nvPr>
        </p:nvSpPr>
        <p:spPr>
          <a:xfrm>
            <a:off x="3359866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6" name="Text Placeholder 4"/>
          <p:cNvSpPr>
            <a:spLocks noGrp="1"/>
          </p:cNvSpPr>
          <p:nvPr>
            <p:ph type="body" sz="quarter" idx="85" hasCustomPrompt="1"/>
          </p:nvPr>
        </p:nvSpPr>
        <p:spPr>
          <a:xfrm>
            <a:off x="4786884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86" hasCustomPrompt="1"/>
          </p:nvPr>
        </p:nvSpPr>
        <p:spPr>
          <a:xfrm>
            <a:off x="4786884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68" name="Text Placeholder 4"/>
          <p:cNvSpPr>
            <a:spLocks noGrp="1"/>
          </p:cNvSpPr>
          <p:nvPr>
            <p:ph type="body" sz="quarter" idx="87" hasCustomPrompt="1"/>
          </p:nvPr>
        </p:nvSpPr>
        <p:spPr>
          <a:xfrm>
            <a:off x="6158485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69" name="Text Placeholder 5"/>
          <p:cNvSpPr>
            <a:spLocks noGrp="1"/>
          </p:cNvSpPr>
          <p:nvPr>
            <p:ph type="body" sz="quarter" idx="88" hasCustomPrompt="1"/>
          </p:nvPr>
        </p:nvSpPr>
        <p:spPr>
          <a:xfrm>
            <a:off x="6158485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0" name="Text Placeholder 4"/>
          <p:cNvSpPr>
            <a:spLocks noGrp="1"/>
          </p:cNvSpPr>
          <p:nvPr>
            <p:ph type="body" sz="quarter" idx="89" hasCustomPrompt="1"/>
          </p:nvPr>
        </p:nvSpPr>
        <p:spPr>
          <a:xfrm>
            <a:off x="7599358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1" name="Text Placeholder 5"/>
          <p:cNvSpPr>
            <a:spLocks noGrp="1"/>
          </p:cNvSpPr>
          <p:nvPr>
            <p:ph type="body" sz="quarter" idx="90" hasCustomPrompt="1"/>
          </p:nvPr>
        </p:nvSpPr>
        <p:spPr>
          <a:xfrm>
            <a:off x="7599358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2" name="Text Placeholder 4"/>
          <p:cNvSpPr>
            <a:spLocks noGrp="1"/>
          </p:cNvSpPr>
          <p:nvPr>
            <p:ph type="body" sz="quarter" idx="91" hasCustomPrompt="1"/>
          </p:nvPr>
        </p:nvSpPr>
        <p:spPr>
          <a:xfrm>
            <a:off x="9054085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4" name="Text Placeholder 5"/>
          <p:cNvSpPr>
            <a:spLocks noGrp="1"/>
          </p:cNvSpPr>
          <p:nvPr>
            <p:ph type="body" sz="quarter" idx="92" hasCustomPrompt="1"/>
          </p:nvPr>
        </p:nvSpPr>
        <p:spPr>
          <a:xfrm>
            <a:off x="9054085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Text Placeholder 4"/>
          <p:cNvSpPr>
            <a:spLocks noGrp="1"/>
          </p:cNvSpPr>
          <p:nvPr>
            <p:ph type="body" sz="quarter" idx="93" hasCustomPrompt="1"/>
          </p:nvPr>
        </p:nvSpPr>
        <p:spPr>
          <a:xfrm>
            <a:off x="10453394" y="5448667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94" hasCustomPrompt="1"/>
          </p:nvPr>
        </p:nvSpPr>
        <p:spPr>
          <a:xfrm>
            <a:off x="10453394" y="5624943"/>
            <a:ext cx="1188720" cy="13476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15136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20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73" name="Picture Placeholder 3"/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3143608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3318348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/>
          <p:cNvSpPr>
            <a:spLocks noGrp="1"/>
          </p:cNvSpPr>
          <p:nvPr>
            <p:ph type="pic" sz="quarter" idx="5" hasCustomPrompt="1"/>
          </p:nvPr>
        </p:nvSpPr>
        <p:spPr>
          <a:xfrm>
            <a:off x="1655567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1664816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7" hasCustomPrompt="1"/>
          </p:nvPr>
        </p:nvSpPr>
        <p:spPr>
          <a:xfrm>
            <a:off x="1664816" y="3318348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/>
          <p:cNvSpPr>
            <a:spLocks noGrp="1"/>
          </p:cNvSpPr>
          <p:nvPr>
            <p:ph type="pic" sz="quarter" idx="8" hasCustomPrompt="1"/>
          </p:nvPr>
        </p:nvSpPr>
        <p:spPr>
          <a:xfrm>
            <a:off x="2777594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9" hasCustomPrompt="1"/>
          </p:nvPr>
        </p:nvSpPr>
        <p:spPr>
          <a:xfrm>
            <a:off x="2784722" y="3143608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778808" y="3318348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/>
          <p:cNvSpPr>
            <a:spLocks noGrp="1"/>
          </p:cNvSpPr>
          <p:nvPr>
            <p:ph type="pic" sz="quarter" idx="11" hasCustomPrompt="1"/>
          </p:nvPr>
        </p:nvSpPr>
        <p:spPr>
          <a:xfrm>
            <a:off x="3899621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90227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901347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5021648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502478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24076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/>
          <p:cNvSpPr>
            <a:spLocks noGrp="1"/>
          </p:cNvSpPr>
          <p:nvPr>
            <p:ph type="pic" sz="quarter" idx="17" hasCustomPrompt="1"/>
          </p:nvPr>
        </p:nvSpPr>
        <p:spPr>
          <a:xfrm>
            <a:off x="6143676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14729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146806" y="3318348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/>
          <p:cNvSpPr>
            <a:spLocks noGrp="1"/>
          </p:cNvSpPr>
          <p:nvPr>
            <p:ph type="pic" sz="quarter" idx="20" hasCustomPrompt="1"/>
          </p:nvPr>
        </p:nvSpPr>
        <p:spPr>
          <a:xfrm>
            <a:off x="7265703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726980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7269344" y="3318348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/>
          <p:cNvSpPr>
            <a:spLocks noGrp="1"/>
          </p:cNvSpPr>
          <p:nvPr>
            <p:ph type="pic" sz="quarter" idx="23" hasCustomPrompt="1"/>
          </p:nvPr>
        </p:nvSpPr>
        <p:spPr>
          <a:xfrm>
            <a:off x="8387730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8392318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/>
          <p:cNvSpPr>
            <a:spLocks noGrp="1"/>
          </p:cNvSpPr>
          <p:nvPr>
            <p:ph type="body" sz="quarter" idx="25" hasCustomPrompt="1"/>
          </p:nvPr>
        </p:nvSpPr>
        <p:spPr>
          <a:xfrm>
            <a:off x="8391882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8" name="Picture Placeholder 27"/>
          <p:cNvSpPr>
            <a:spLocks noGrp="1"/>
          </p:cNvSpPr>
          <p:nvPr>
            <p:ph type="pic" sz="quarter" idx="26" hasCustomPrompt="1"/>
          </p:nvPr>
        </p:nvSpPr>
        <p:spPr>
          <a:xfrm>
            <a:off x="9509757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8"/>
          <p:cNvSpPr>
            <a:spLocks noGrp="1"/>
          </p:cNvSpPr>
          <p:nvPr>
            <p:ph type="body" sz="quarter" idx="27" hasCustomPrompt="1"/>
          </p:nvPr>
        </p:nvSpPr>
        <p:spPr>
          <a:xfrm>
            <a:off x="9514829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9514612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9" name="Picture Placeholder 30"/>
          <p:cNvSpPr>
            <a:spLocks noGrp="1"/>
          </p:cNvSpPr>
          <p:nvPr>
            <p:ph type="pic" sz="quarter" idx="29" hasCustomPrompt="1"/>
          </p:nvPr>
        </p:nvSpPr>
        <p:spPr>
          <a:xfrm>
            <a:off x="10631785" y="2014812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31"/>
          <p:cNvSpPr>
            <a:spLocks noGrp="1"/>
          </p:cNvSpPr>
          <p:nvPr>
            <p:ph type="body" sz="quarter" idx="30" hasCustomPrompt="1"/>
          </p:nvPr>
        </p:nvSpPr>
        <p:spPr>
          <a:xfrm>
            <a:off x="10637337" y="314360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32"/>
          <p:cNvSpPr>
            <a:spLocks noGrp="1"/>
          </p:cNvSpPr>
          <p:nvPr>
            <p:ph type="body" sz="quarter" idx="31" hasCustomPrompt="1"/>
          </p:nvPr>
        </p:nvSpPr>
        <p:spPr>
          <a:xfrm>
            <a:off x="10637337" y="3318348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9" name="Picture Placeholder 33"/>
          <p:cNvSpPr>
            <a:spLocks noGrp="1"/>
          </p:cNvSpPr>
          <p:nvPr>
            <p:ph type="pic" sz="quarter" idx="32" hasCustomPrompt="1"/>
          </p:nvPr>
        </p:nvSpPr>
        <p:spPr>
          <a:xfrm>
            <a:off x="533540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5120046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/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5300709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/>
          <p:cNvSpPr>
            <a:spLocks noGrp="1"/>
          </p:cNvSpPr>
          <p:nvPr>
            <p:ph type="pic" sz="quarter" idx="35" hasCustomPrompt="1"/>
          </p:nvPr>
        </p:nvSpPr>
        <p:spPr>
          <a:xfrm>
            <a:off x="1655567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/>
          <p:cNvSpPr>
            <a:spLocks noGrp="1"/>
          </p:cNvSpPr>
          <p:nvPr>
            <p:ph type="body" sz="quarter" idx="36" hasCustomPrompt="1"/>
          </p:nvPr>
        </p:nvSpPr>
        <p:spPr>
          <a:xfrm>
            <a:off x="1664816" y="5120046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/>
          <p:cNvSpPr>
            <a:spLocks noGrp="1"/>
          </p:cNvSpPr>
          <p:nvPr>
            <p:ph type="body" sz="quarter" idx="37" hasCustomPrompt="1"/>
          </p:nvPr>
        </p:nvSpPr>
        <p:spPr>
          <a:xfrm>
            <a:off x="1664816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/>
          <p:cNvSpPr>
            <a:spLocks noGrp="1"/>
          </p:cNvSpPr>
          <p:nvPr>
            <p:ph type="pic" sz="quarter" idx="38" hasCustomPrompt="1"/>
          </p:nvPr>
        </p:nvSpPr>
        <p:spPr>
          <a:xfrm>
            <a:off x="2777594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/>
          <p:cNvSpPr>
            <a:spLocks noGrp="1"/>
          </p:cNvSpPr>
          <p:nvPr>
            <p:ph type="body" sz="quarter" idx="39" hasCustomPrompt="1"/>
          </p:nvPr>
        </p:nvSpPr>
        <p:spPr>
          <a:xfrm>
            <a:off x="2783473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/>
          <p:cNvSpPr>
            <a:spLocks noGrp="1"/>
          </p:cNvSpPr>
          <p:nvPr>
            <p:ph type="body" sz="quarter" idx="40" hasCustomPrompt="1"/>
          </p:nvPr>
        </p:nvSpPr>
        <p:spPr>
          <a:xfrm>
            <a:off x="2783599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/>
          <p:cNvSpPr>
            <a:spLocks noGrp="1"/>
          </p:cNvSpPr>
          <p:nvPr>
            <p:ph type="pic" sz="quarter" idx="41" hasCustomPrompt="1"/>
          </p:nvPr>
        </p:nvSpPr>
        <p:spPr>
          <a:xfrm>
            <a:off x="3899621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/>
          <p:cNvSpPr>
            <a:spLocks noGrp="1"/>
          </p:cNvSpPr>
          <p:nvPr>
            <p:ph type="body" sz="quarter" idx="42" hasCustomPrompt="1"/>
          </p:nvPr>
        </p:nvSpPr>
        <p:spPr>
          <a:xfrm>
            <a:off x="3905454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/>
          <p:cNvSpPr>
            <a:spLocks noGrp="1"/>
          </p:cNvSpPr>
          <p:nvPr>
            <p:ph type="body" sz="quarter" idx="43" hasCustomPrompt="1"/>
          </p:nvPr>
        </p:nvSpPr>
        <p:spPr>
          <a:xfrm>
            <a:off x="3905453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/>
          <p:cNvSpPr>
            <a:spLocks noGrp="1"/>
          </p:cNvSpPr>
          <p:nvPr>
            <p:ph type="pic" sz="quarter" idx="44" hasCustomPrompt="1"/>
          </p:nvPr>
        </p:nvSpPr>
        <p:spPr>
          <a:xfrm>
            <a:off x="5021648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/>
          <p:cNvSpPr>
            <a:spLocks noGrp="1"/>
          </p:cNvSpPr>
          <p:nvPr>
            <p:ph type="body" sz="quarter" idx="45" hasCustomPrompt="1"/>
          </p:nvPr>
        </p:nvSpPr>
        <p:spPr>
          <a:xfrm>
            <a:off x="5027435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/>
          <p:cNvSpPr>
            <a:spLocks noGrp="1"/>
          </p:cNvSpPr>
          <p:nvPr>
            <p:ph type="body" sz="quarter" idx="46" hasCustomPrompt="1"/>
          </p:nvPr>
        </p:nvSpPr>
        <p:spPr>
          <a:xfrm>
            <a:off x="5027497" y="5300709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/>
          <p:cNvSpPr>
            <a:spLocks noGrp="1"/>
          </p:cNvSpPr>
          <p:nvPr>
            <p:ph type="pic" sz="quarter" idx="47" hasCustomPrompt="1"/>
          </p:nvPr>
        </p:nvSpPr>
        <p:spPr>
          <a:xfrm>
            <a:off x="6143676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/>
          <p:cNvSpPr>
            <a:spLocks noGrp="1"/>
          </p:cNvSpPr>
          <p:nvPr>
            <p:ph type="body" sz="quarter" idx="48" hasCustomPrompt="1"/>
          </p:nvPr>
        </p:nvSpPr>
        <p:spPr>
          <a:xfrm>
            <a:off x="6149416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/>
          <p:cNvSpPr>
            <a:spLocks noGrp="1"/>
          </p:cNvSpPr>
          <p:nvPr>
            <p:ph type="body" sz="quarter" idx="49" hasCustomPrompt="1"/>
          </p:nvPr>
        </p:nvSpPr>
        <p:spPr>
          <a:xfrm>
            <a:off x="6149351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/>
          <p:cNvSpPr>
            <a:spLocks noGrp="1"/>
          </p:cNvSpPr>
          <p:nvPr>
            <p:ph type="pic" sz="quarter" idx="50" hasCustomPrompt="1"/>
          </p:nvPr>
        </p:nvSpPr>
        <p:spPr>
          <a:xfrm>
            <a:off x="7265703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/>
          <p:cNvSpPr>
            <a:spLocks noGrp="1"/>
          </p:cNvSpPr>
          <p:nvPr>
            <p:ph type="body" sz="quarter" idx="51" hasCustomPrompt="1"/>
          </p:nvPr>
        </p:nvSpPr>
        <p:spPr>
          <a:xfrm>
            <a:off x="7271397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/>
          <p:cNvSpPr>
            <a:spLocks noGrp="1"/>
          </p:cNvSpPr>
          <p:nvPr>
            <p:ph type="body" sz="quarter" idx="52" hasCustomPrompt="1"/>
          </p:nvPr>
        </p:nvSpPr>
        <p:spPr>
          <a:xfrm>
            <a:off x="7271395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/>
          <p:cNvSpPr>
            <a:spLocks noGrp="1"/>
          </p:cNvSpPr>
          <p:nvPr>
            <p:ph type="pic" sz="quarter" idx="53" hasCustomPrompt="1"/>
          </p:nvPr>
        </p:nvSpPr>
        <p:spPr>
          <a:xfrm>
            <a:off x="8387730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/>
          <p:cNvSpPr>
            <a:spLocks noGrp="1"/>
          </p:cNvSpPr>
          <p:nvPr>
            <p:ph type="body" sz="quarter" idx="54" hasCustomPrompt="1"/>
          </p:nvPr>
        </p:nvSpPr>
        <p:spPr>
          <a:xfrm>
            <a:off x="8393379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/>
          <p:cNvSpPr>
            <a:spLocks noGrp="1"/>
          </p:cNvSpPr>
          <p:nvPr>
            <p:ph type="body" sz="quarter" idx="55" hasCustomPrompt="1"/>
          </p:nvPr>
        </p:nvSpPr>
        <p:spPr>
          <a:xfrm>
            <a:off x="8393440" y="5300709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7" name="Picture Placeholder 57"/>
          <p:cNvSpPr>
            <a:spLocks noGrp="1"/>
          </p:cNvSpPr>
          <p:nvPr>
            <p:ph type="pic" sz="quarter" idx="56" hasCustomPrompt="1"/>
          </p:nvPr>
        </p:nvSpPr>
        <p:spPr>
          <a:xfrm>
            <a:off x="9509757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8" name="Text Placeholder 58"/>
          <p:cNvSpPr>
            <a:spLocks noGrp="1"/>
          </p:cNvSpPr>
          <p:nvPr>
            <p:ph type="body" sz="quarter" idx="57" hasCustomPrompt="1"/>
          </p:nvPr>
        </p:nvSpPr>
        <p:spPr>
          <a:xfrm>
            <a:off x="9515360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72" name="Text Placeholder 59"/>
          <p:cNvSpPr>
            <a:spLocks noGrp="1"/>
          </p:cNvSpPr>
          <p:nvPr>
            <p:ph type="body" sz="quarter" idx="58" hasCustomPrompt="1"/>
          </p:nvPr>
        </p:nvSpPr>
        <p:spPr>
          <a:xfrm>
            <a:off x="9515293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8" name="Picture Placeholder 60"/>
          <p:cNvSpPr>
            <a:spLocks noGrp="1"/>
          </p:cNvSpPr>
          <p:nvPr>
            <p:ph type="pic" sz="quarter" idx="59" hasCustomPrompt="1"/>
          </p:nvPr>
        </p:nvSpPr>
        <p:spPr>
          <a:xfrm>
            <a:off x="10631785" y="4015146"/>
            <a:ext cx="1029947" cy="1031000"/>
          </a:xfrm>
          <a:prstGeom prst="rect">
            <a:avLst/>
          </a:prstGeom>
          <a:noFill/>
        </p:spPr>
        <p:txBody>
          <a:bodyPr bIns="64008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0" name="Text Placeholder 61"/>
          <p:cNvSpPr>
            <a:spLocks noGrp="1"/>
          </p:cNvSpPr>
          <p:nvPr>
            <p:ph type="body" sz="quarter" idx="60" hasCustomPrompt="1"/>
          </p:nvPr>
        </p:nvSpPr>
        <p:spPr>
          <a:xfrm>
            <a:off x="10637337" y="5120046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88" name="Text Placeholder 62"/>
          <p:cNvSpPr>
            <a:spLocks noGrp="1"/>
          </p:cNvSpPr>
          <p:nvPr>
            <p:ph type="body" sz="quarter" idx="61" hasCustomPrompt="1"/>
          </p:nvPr>
        </p:nvSpPr>
        <p:spPr>
          <a:xfrm>
            <a:off x="10637337" y="5300709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10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6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68" name="Date Placeholder 45"/>
          <p:cNvSpPr>
            <a:spLocks noGrp="1"/>
          </p:cNvSpPr>
          <p:nvPr>
            <p:ph type="dt" sz="half" idx="64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7F08DC8-B83B-204C-A56D-D41478F95502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15921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24</a:t>
            </a:r>
          </a:p>
        </p:txBody>
      </p:sp>
      <p:sp>
        <p:nvSpPr>
          <p:cNvPr id="73" name="Picture Placeholder 3"/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274114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2890764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/>
          <p:cNvSpPr>
            <a:spLocks noGrp="1"/>
          </p:cNvSpPr>
          <p:nvPr>
            <p:ph type="pic" sz="quarter" idx="5" hasCustomPrompt="1"/>
          </p:nvPr>
        </p:nvSpPr>
        <p:spPr>
          <a:xfrm>
            <a:off x="1981996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1991245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7" hasCustomPrompt="1"/>
          </p:nvPr>
        </p:nvSpPr>
        <p:spPr>
          <a:xfrm>
            <a:off x="1991245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/>
          <p:cNvSpPr>
            <a:spLocks noGrp="1"/>
          </p:cNvSpPr>
          <p:nvPr>
            <p:ph type="pic" sz="quarter" idx="8" hasCustomPrompt="1"/>
          </p:nvPr>
        </p:nvSpPr>
        <p:spPr>
          <a:xfrm>
            <a:off x="3424764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9" hasCustomPrompt="1"/>
          </p:nvPr>
        </p:nvSpPr>
        <p:spPr>
          <a:xfrm>
            <a:off x="3431892" y="2741144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425978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/>
          <p:cNvSpPr>
            <a:spLocks noGrp="1"/>
          </p:cNvSpPr>
          <p:nvPr>
            <p:ph type="pic" sz="quarter" idx="11" hasCustomPrompt="1"/>
          </p:nvPr>
        </p:nvSpPr>
        <p:spPr>
          <a:xfrm>
            <a:off x="4853542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85619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55268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6292637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295776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295065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/>
          <p:cNvSpPr>
            <a:spLocks noGrp="1"/>
          </p:cNvSpPr>
          <p:nvPr>
            <p:ph type="pic" sz="quarter" idx="17" hasCustomPrompt="1"/>
          </p:nvPr>
        </p:nvSpPr>
        <p:spPr>
          <a:xfrm>
            <a:off x="7746045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774966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7749175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/>
          <p:cNvSpPr>
            <a:spLocks noGrp="1"/>
          </p:cNvSpPr>
          <p:nvPr>
            <p:ph type="pic" sz="quarter" idx="20" hasCustomPrompt="1"/>
          </p:nvPr>
        </p:nvSpPr>
        <p:spPr>
          <a:xfrm>
            <a:off x="9182273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918637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9185914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/>
          <p:cNvSpPr>
            <a:spLocks noGrp="1"/>
          </p:cNvSpPr>
          <p:nvPr>
            <p:ph type="pic" sz="quarter" idx="23" hasCustomPrompt="1"/>
          </p:nvPr>
        </p:nvSpPr>
        <p:spPr>
          <a:xfrm>
            <a:off x="10623183" y="1679581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10627771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/>
          <p:cNvSpPr>
            <a:spLocks noGrp="1"/>
          </p:cNvSpPr>
          <p:nvPr>
            <p:ph type="body" sz="quarter" idx="25" hasCustomPrompt="1"/>
          </p:nvPr>
        </p:nvSpPr>
        <p:spPr>
          <a:xfrm>
            <a:off x="10627335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99" name="Picture Placeholder 33"/>
          <p:cNvSpPr>
            <a:spLocks noGrp="1"/>
          </p:cNvSpPr>
          <p:nvPr>
            <p:ph type="pic" sz="quarter" idx="32" hasCustomPrompt="1"/>
          </p:nvPr>
        </p:nvSpPr>
        <p:spPr>
          <a:xfrm>
            <a:off x="533539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4328121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/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448366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/>
          <p:cNvSpPr>
            <a:spLocks noGrp="1"/>
          </p:cNvSpPr>
          <p:nvPr>
            <p:ph type="pic" sz="quarter" idx="35" hasCustomPrompt="1"/>
          </p:nvPr>
        </p:nvSpPr>
        <p:spPr>
          <a:xfrm>
            <a:off x="1981995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/>
          <p:cNvSpPr>
            <a:spLocks noGrp="1"/>
          </p:cNvSpPr>
          <p:nvPr>
            <p:ph type="body" sz="quarter" idx="36" hasCustomPrompt="1"/>
          </p:nvPr>
        </p:nvSpPr>
        <p:spPr>
          <a:xfrm>
            <a:off x="1991245" y="4328121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/>
          <p:cNvSpPr>
            <a:spLocks noGrp="1"/>
          </p:cNvSpPr>
          <p:nvPr>
            <p:ph type="body" sz="quarter" idx="37" hasCustomPrompt="1"/>
          </p:nvPr>
        </p:nvSpPr>
        <p:spPr>
          <a:xfrm>
            <a:off x="1991245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/>
          <p:cNvSpPr>
            <a:spLocks noGrp="1"/>
          </p:cNvSpPr>
          <p:nvPr>
            <p:ph type="pic" sz="quarter" idx="38" hasCustomPrompt="1"/>
          </p:nvPr>
        </p:nvSpPr>
        <p:spPr>
          <a:xfrm>
            <a:off x="3424763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/>
          <p:cNvSpPr>
            <a:spLocks noGrp="1"/>
          </p:cNvSpPr>
          <p:nvPr>
            <p:ph type="body" sz="quarter" idx="39" hasCustomPrompt="1"/>
          </p:nvPr>
        </p:nvSpPr>
        <p:spPr>
          <a:xfrm>
            <a:off x="3430643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/>
          <p:cNvSpPr>
            <a:spLocks noGrp="1"/>
          </p:cNvSpPr>
          <p:nvPr>
            <p:ph type="body" sz="quarter" idx="40" hasCustomPrompt="1"/>
          </p:nvPr>
        </p:nvSpPr>
        <p:spPr>
          <a:xfrm>
            <a:off x="3430769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/>
          <p:cNvSpPr>
            <a:spLocks noGrp="1"/>
          </p:cNvSpPr>
          <p:nvPr>
            <p:ph type="pic" sz="quarter" idx="41" hasCustomPrompt="1"/>
          </p:nvPr>
        </p:nvSpPr>
        <p:spPr>
          <a:xfrm>
            <a:off x="4853541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/>
          <p:cNvSpPr>
            <a:spLocks noGrp="1"/>
          </p:cNvSpPr>
          <p:nvPr>
            <p:ph type="body" sz="quarter" idx="42" hasCustomPrompt="1"/>
          </p:nvPr>
        </p:nvSpPr>
        <p:spPr>
          <a:xfrm>
            <a:off x="4859375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/>
          <p:cNvSpPr>
            <a:spLocks noGrp="1"/>
          </p:cNvSpPr>
          <p:nvPr>
            <p:ph type="body" sz="quarter" idx="43" hasCustomPrompt="1"/>
          </p:nvPr>
        </p:nvSpPr>
        <p:spPr>
          <a:xfrm>
            <a:off x="4859374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/>
          <p:cNvSpPr>
            <a:spLocks noGrp="1"/>
          </p:cNvSpPr>
          <p:nvPr>
            <p:ph type="pic" sz="quarter" idx="44" hasCustomPrompt="1"/>
          </p:nvPr>
        </p:nvSpPr>
        <p:spPr>
          <a:xfrm>
            <a:off x="6292636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/>
          <p:cNvSpPr>
            <a:spLocks noGrp="1"/>
          </p:cNvSpPr>
          <p:nvPr>
            <p:ph type="body" sz="quarter" idx="45" hasCustomPrompt="1"/>
          </p:nvPr>
        </p:nvSpPr>
        <p:spPr>
          <a:xfrm>
            <a:off x="6298424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/>
          <p:cNvSpPr>
            <a:spLocks noGrp="1"/>
          </p:cNvSpPr>
          <p:nvPr>
            <p:ph type="body" sz="quarter" idx="46" hasCustomPrompt="1"/>
          </p:nvPr>
        </p:nvSpPr>
        <p:spPr>
          <a:xfrm>
            <a:off x="6298486" y="44836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/>
          <p:cNvSpPr>
            <a:spLocks noGrp="1"/>
          </p:cNvSpPr>
          <p:nvPr>
            <p:ph type="pic" sz="quarter" idx="47" hasCustomPrompt="1"/>
          </p:nvPr>
        </p:nvSpPr>
        <p:spPr>
          <a:xfrm>
            <a:off x="7746044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/>
          <p:cNvSpPr>
            <a:spLocks noGrp="1"/>
          </p:cNvSpPr>
          <p:nvPr>
            <p:ph type="body" sz="quarter" idx="48" hasCustomPrompt="1"/>
          </p:nvPr>
        </p:nvSpPr>
        <p:spPr>
          <a:xfrm>
            <a:off x="7751785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/>
          <p:cNvSpPr>
            <a:spLocks noGrp="1"/>
          </p:cNvSpPr>
          <p:nvPr>
            <p:ph type="body" sz="quarter" idx="49" hasCustomPrompt="1"/>
          </p:nvPr>
        </p:nvSpPr>
        <p:spPr>
          <a:xfrm>
            <a:off x="7751720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/>
          <p:cNvSpPr>
            <a:spLocks noGrp="1"/>
          </p:cNvSpPr>
          <p:nvPr>
            <p:ph type="pic" sz="quarter" idx="50" hasCustomPrompt="1"/>
          </p:nvPr>
        </p:nvSpPr>
        <p:spPr>
          <a:xfrm>
            <a:off x="9182272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/>
          <p:cNvSpPr>
            <a:spLocks noGrp="1"/>
          </p:cNvSpPr>
          <p:nvPr>
            <p:ph type="body" sz="quarter" idx="51" hasCustomPrompt="1"/>
          </p:nvPr>
        </p:nvSpPr>
        <p:spPr>
          <a:xfrm>
            <a:off x="9187967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/>
          <p:cNvSpPr>
            <a:spLocks noGrp="1"/>
          </p:cNvSpPr>
          <p:nvPr>
            <p:ph type="body" sz="quarter" idx="52" hasCustomPrompt="1"/>
          </p:nvPr>
        </p:nvSpPr>
        <p:spPr>
          <a:xfrm>
            <a:off x="9187965" y="44836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/>
          <p:cNvSpPr>
            <a:spLocks noGrp="1"/>
          </p:cNvSpPr>
          <p:nvPr>
            <p:ph type="pic" sz="quarter" idx="53" hasCustomPrompt="1"/>
          </p:nvPr>
        </p:nvSpPr>
        <p:spPr>
          <a:xfrm>
            <a:off x="10623182" y="3254338"/>
            <a:ext cx="1033272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/>
          <p:cNvSpPr>
            <a:spLocks noGrp="1"/>
          </p:cNvSpPr>
          <p:nvPr>
            <p:ph type="body" sz="quarter" idx="54" hasCustomPrompt="1"/>
          </p:nvPr>
        </p:nvSpPr>
        <p:spPr>
          <a:xfrm>
            <a:off x="10628832" y="4328121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/>
          <p:cNvSpPr>
            <a:spLocks noGrp="1"/>
          </p:cNvSpPr>
          <p:nvPr>
            <p:ph type="body" sz="quarter" idx="55" hasCustomPrompt="1"/>
          </p:nvPr>
        </p:nvSpPr>
        <p:spPr>
          <a:xfrm>
            <a:off x="10628893" y="44836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6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6" name="Picture Placeholder 33"/>
          <p:cNvSpPr>
            <a:spLocks noGrp="1"/>
          </p:cNvSpPr>
          <p:nvPr>
            <p:ph type="pic" sz="quarter" idx="65" hasCustomPrompt="1"/>
          </p:nvPr>
        </p:nvSpPr>
        <p:spPr>
          <a:xfrm>
            <a:off x="533540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" name="Text Placeholder 34"/>
          <p:cNvSpPr>
            <a:spLocks noGrp="1"/>
          </p:cNvSpPr>
          <p:nvPr>
            <p:ph type="body" sz="quarter" idx="66" hasCustomPrompt="1"/>
          </p:nvPr>
        </p:nvSpPr>
        <p:spPr>
          <a:xfrm>
            <a:off x="542458" y="5927557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0" name="Text Placeholder 35"/>
          <p:cNvSpPr>
            <a:spLocks noGrp="1"/>
          </p:cNvSpPr>
          <p:nvPr>
            <p:ph type="body" sz="quarter" idx="67" hasCustomPrompt="1"/>
          </p:nvPr>
        </p:nvSpPr>
        <p:spPr>
          <a:xfrm>
            <a:off x="542458" y="6083100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1" name="Picture Placeholder 36"/>
          <p:cNvSpPr>
            <a:spLocks noGrp="1"/>
          </p:cNvSpPr>
          <p:nvPr>
            <p:ph type="pic" sz="quarter" idx="68" hasCustomPrompt="1"/>
          </p:nvPr>
        </p:nvSpPr>
        <p:spPr>
          <a:xfrm>
            <a:off x="1981996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37"/>
          <p:cNvSpPr>
            <a:spLocks noGrp="1"/>
          </p:cNvSpPr>
          <p:nvPr>
            <p:ph type="body" sz="quarter" idx="69" hasCustomPrompt="1"/>
          </p:nvPr>
        </p:nvSpPr>
        <p:spPr>
          <a:xfrm>
            <a:off x="1991245" y="592755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4" name="Text Placeholder 38"/>
          <p:cNvSpPr>
            <a:spLocks noGrp="1"/>
          </p:cNvSpPr>
          <p:nvPr>
            <p:ph type="body" sz="quarter" idx="70" hasCustomPrompt="1"/>
          </p:nvPr>
        </p:nvSpPr>
        <p:spPr>
          <a:xfrm>
            <a:off x="1991245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39"/>
          <p:cNvSpPr>
            <a:spLocks noGrp="1"/>
          </p:cNvSpPr>
          <p:nvPr>
            <p:ph type="pic" sz="quarter" idx="71" hasCustomPrompt="1"/>
          </p:nvPr>
        </p:nvSpPr>
        <p:spPr>
          <a:xfrm>
            <a:off x="3424764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7" name="Text Placeholder 40"/>
          <p:cNvSpPr>
            <a:spLocks noGrp="1"/>
          </p:cNvSpPr>
          <p:nvPr>
            <p:ph type="body" sz="quarter" idx="72" hasCustomPrompt="1"/>
          </p:nvPr>
        </p:nvSpPr>
        <p:spPr>
          <a:xfrm>
            <a:off x="3430643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73" hasCustomPrompt="1"/>
          </p:nvPr>
        </p:nvSpPr>
        <p:spPr>
          <a:xfrm>
            <a:off x="3430769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0" name="Picture Placeholder 42"/>
          <p:cNvSpPr>
            <a:spLocks noGrp="1"/>
          </p:cNvSpPr>
          <p:nvPr>
            <p:ph type="pic" sz="quarter" idx="74" hasCustomPrompt="1"/>
          </p:nvPr>
        </p:nvSpPr>
        <p:spPr>
          <a:xfrm>
            <a:off x="4853542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Text Placeholder 43"/>
          <p:cNvSpPr>
            <a:spLocks noGrp="1"/>
          </p:cNvSpPr>
          <p:nvPr>
            <p:ph type="body" sz="quarter" idx="75" hasCustomPrompt="1"/>
          </p:nvPr>
        </p:nvSpPr>
        <p:spPr>
          <a:xfrm>
            <a:off x="4859375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3" name="Text Placeholder 44"/>
          <p:cNvSpPr>
            <a:spLocks noGrp="1"/>
          </p:cNvSpPr>
          <p:nvPr>
            <p:ph type="body" sz="quarter" idx="76" hasCustomPrompt="1"/>
          </p:nvPr>
        </p:nvSpPr>
        <p:spPr>
          <a:xfrm>
            <a:off x="4859374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4" name="Picture Placeholder 45"/>
          <p:cNvSpPr>
            <a:spLocks noGrp="1"/>
          </p:cNvSpPr>
          <p:nvPr>
            <p:ph type="pic" sz="quarter" idx="77" hasCustomPrompt="1"/>
          </p:nvPr>
        </p:nvSpPr>
        <p:spPr>
          <a:xfrm>
            <a:off x="6292637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6" name="Text Placeholder 46"/>
          <p:cNvSpPr>
            <a:spLocks noGrp="1"/>
          </p:cNvSpPr>
          <p:nvPr>
            <p:ph type="body" sz="quarter" idx="78" hasCustomPrompt="1"/>
          </p:nvPr>
        </p:nvSpPr>
        <p:spPr>
          <a:xfrm>
            <a:off x="6298424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8" name="Text Placeholder 47"/>
          <p:cNvSpPr>
            <a:spLocks noGrp="1"/>
          </p:cNvSpPr>
          <p:nvPr>
            <p:ph type="body" sz="quarter" idx="79" hasCustomPrompt="1"/>
          </p:nvPr>
        </p:nvSpPr>
        <p:spPr>
          <a:xfrm>
            <a:off x="6298486" y="6083100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9" name="Picture Placeholder 48"/>
          <p:cNvSpPr>
            <a:spLocks noGrp="1"/>
          </p:cNvSpPr>
          <p:nvPr>
            <p:ph type="pic" sz="quarter" idx="80" hasCustomPrompt="1"/>
          </p:nvPr>
        </p:nvSpPr>
        <p:spPr>
          <a:xfrm>
            <a:off x="7746045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49"/>
          <p:cNvSpPr>
            <a:spLocks noGrp="1"/>
          </p:cNvSpPr>
          <p:nvPr>
            <p:ph type="body" sz="quarter" idx="81" hasCustomPrompt="1"/>
          </p:nvPr>
        </p:nvSpPr>
        <p:spPr>
          <a:xfrm>
            <a:off x="7751785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50"/>
          <p:cNvSpPr>
            <a:spLocks noGrp="1"/>
          </p:cNvSpPr>
          <p:nvPr>
            <p:ph type="body" sz="quarter" idx="82" hasCustomPrompt="1"/>
          </p:nvPr>
        </p:nvSpPr>
        <p:spPr>
          <a:xfrm>
            <a:off x="7751720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51"/>
          <p:cNvSpPr>
            <a:spLocks noGrp="1"/>
          </p:cNvSpPr>
          <p:nvPr>
            <p:ph type="pic" sz="quarter" idx="83" hasCustomPrompt="1"/>
          </p:nvPr>
        </p:nvSpPr>
        <p:spPr>
          <a:xfrm>
            <a:off x="9182273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5" name="Text Placeholder 52"/>
          <p:cNvSpPr>
            <a:spLocks noGrp="1"/>
          </p:cNvSpPr>
          <p:nvPr>
            <p:ph type="body" sz="quarter" idx="84" hasCustomPrompt="1"/>
          </p:nvPr>
        </p:nvSpPr>
        <p:spPr>
          <a:xfrm>
            <a:off x="9187967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6" name="Text Placeholder 53"/>
          <p:cNvSpPr>
            <a:spLocks noGrp="1"/>
          </p:cNvSpPr>
          <p:nvPr>
            <p:ph type="body" sz="quarter" idx="85" hasCustomPrompt="1"/>
          </p:nvPr>
        </p:nvSpPr>
        <p:spPr>
          <a:xfrm>
            <a:off x="9187965" y="6083100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38" name="Picture Placeholder 54"/>
          <p:cNvSpPr>
            <a:spLocks noGrp="1"/>
          </p:cNvSpPr>
          <p:nvPr>
            <p:ph type="pic" sz="quarter" idx="86" hasCustomPrompt="1"/>
          </p:nvPr>
        </p:nvSpPr>
        <p:spPr>
          <a:xfrm>
            <a:off x="10623183" y="4864483"/>
            <a:ext cx="1029947" cy="1005840"/>
          </a:xfrm>
          <a:prstGeom prst="rect">
            <a:avLst/>
          </a:prstGeom>
          <a:noFill/>
        </p:spPr>
        <p:txBody>
          <a:bodyPr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Text Placeholder 55"/>
          <p:cNvSpPr>
            <a:spLocks noGrp="1"/>
          </p:cNvSpPr>
          <p:nvPr>
            <p:ph type="body" sz="quarter" idx="87" hasCustomPrompt="1"/>
          </p:nvPr>
        </p:nvSpPr>
        <p:spPr>
          <a:xfrm>
            <a:off x="10628832" y="592755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1" name="Text Placeholder 56"/>
          <p:cNvSpPr>
            <a:spLocks noGrp="1"/>
          </p:cNvSpPr>
          <p:nvPr>
            <p:ph type="body" sz="quarter" idx="88" hasCustomPrompt="1"/>
          </p:nvPr>
        </p:nvSpPr>
        <p:spPr>
          <a:xfrm>
            <a:off x="10628893" y="6083100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83" name="Date Placeholder 45"/>
          <p:cNvSpPr>
            <a:spLocks noGrp="1"/>
          </p:cNvSpPr>
          <p:nvPr>
            <p:ph type="dt" sz="half" idx="89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7F08DC8-B83B-204C-A56D-D41478F95502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2567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Headshots - Up to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rgbClr val="303A44"/>
                </a:solidFill>
              </a:defRPr>
            </a:lvl1pPr>
          </a:lstStyle>
          <a:p>
            <a:r>
              <a:rPr lang="en-US"/>
              <a:t>Headshots – up to 30</a:t>
            </a:r>
          </a:p>
        </p:txBody>
      </p:sp>
      <p:sp>
        <p:nvSpPr>
          <p:cNvPr id="73" name="Picture Placeholder 3"/>
          <p:cNvSpPr>
            <a:spLocks noGrp="1"/>
          </p:cNvSpPr>
          <p:nvPr>
            <p:ph type="pic" sz="quarter" idx="2" hasCustomPrompt="1"/>
          </p:nvPr>
        </p:nvSpPr>
        <p:spPr>
          <a:xfrm>
            <a:off x="533540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42458" y="274114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4" hasCustomPrompt="1"/>
          </p:nvPr>
        </p:nvSpPr>
        <p:spPr>
          <a:xfrm>
            <a:off x="542458" y="2890764"/>
            <a:ext cx="1021029" cy="15388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4" name="Picture Placeholder 6"/>
          <p:cNvSpPr>
            <a:spLocks noGrp="1"/>
          </p:cNvSpPr>
          <p:nvPr>
            <p:ph type="pic" sz="quarter" idx="5" hasCustomPrompt="1"/>
          </p:nvPr>
        </p:nvSpPr>
        <p:spPr>
          <a:xfrm>
            <a:off x="1655567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6" hasCustomPrompt="1"/>
          </p:nvPr>
        </p:nvSpPr>
        <p:spPr>
          <a:xfrm>
            <a:off x="1664816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7" hasCustomPrompt="1"/>
          </p:nvPr>
        </p:nvSpPr>
        <p:spPr>
          <a:xfrm>
            <a:off x="1664816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76" name="Picture Placeholder 9"/>
          <p:cNvSpPr>
            <a:spLocks noGrp="1"/>
          </p:cNvSpPr>
          <p:nvPr>
            <p:ph type="pic" sz="quarter" idx="8" hasCustomPrompt="1"/>
          </p:nvPr>
        </p:nvSpPr>
        <p:spPr>
          <a:xfrm>
            <a:off x="2777594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9" hasCustomPrompt="1"/>
          </p:nvPr>
        </p:nvSpPr>
        <p:spPr>
          <a:xfrm>
            <a:off x="2784722" y="2741144"/>
            <a:ext cx="1019440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778808" y="289076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78" name="Picture Placeholder 12"/>
          <p:cNvSpPr>
            <a:spLocks noGrp="1"/>
          </p:cNvSpPr>
          <p:nvPr>
            <p:ph type="pic" sz="quarter" idx="11" hasCustomPrompt="1"/>
          </p:nvPr>
        </p:nvSpPr>
        <p:spPr>
          <a:xfrm>
            <a:off x="3899621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90227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901347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0" name="Picture Placeholder 15"/>
          <p:cNvSpPr>
            <a:spLocks noGrp="1"/>
          </p:cNvSpPr>
          <p:nvPr>
            <p:ph type="pic" sz="quarter" idx="14" hasCustomPrompt="1"/>
          </p:nvPr>
        </p:nvSpPr>
        <p:spPr>
          <a:xfrm>
            <a:off x="5021648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502478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024076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2" name="Picture Placeholder 18"/>
          <p:cNvSpPr>
            <a:spLocks noGrp="1"/>
          </p:cNvSpPr>
          <p:nvPr>
            <p:ph type="pic" sz="quarter" idx="17" hasCustomPrompt="1"/>
          </p:nvPr>
        </p:nvSpPr>
        <p:spPr>
          <a:xfrm>
            <a:off x="6143676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14729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6146806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4" name="Picture Placeholder 21"/>
          <p:cNvSpPr>
            <a:spLocks noGrp="1"/>
          </p:cNvSpPr>
          <p:nvPr>
            <p:ph type="pic" sz="quarter" idx="20" hasCustomPrompt="1"/>
          </p:nvPr>
        </p:nvSpPr>
        <p:spPr>
          <a:xfrm>
            <a:off x="7265703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726980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5" name="Text Placehold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7269344" y="2890764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6" name="Picture Placeholder 24"/>
          <p:cNvSpPr>
            <a:spLocks noGrp="1"/>
          </p:cNvSpPr>
          <p:nvPr>
            <p:ph type="pic" sz="quarter" idx="23" hasCustomPrompt="1"/>
          </p:nvPr>
        </p:nvSpPr>
        <p:spPr>
          <a:xfrm>
            <a:off x="8387730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8392318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51" name="Text Placeholder 26"/>
          <p:cNvSpPr>
            <a:spLocks noGrp="1"/>
          </p:cNvSpPr>
          <p:nvPr>
            <p:ph type="body" sz="quarter" idx="25" hasCustomPrompt="1"/>
          </p:nvPr>
        </p:nvSpPr>
        <p:spPr>
          <a:xfrm>
            <a:off x="8391882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lvl="0"/>
            <a:r>
              <a:rPr lang="en-US"/>
              <a:t>Position / Title</a:t>
            </a:r>
          </a:p>
        </p:txBody>
      </p:sp>
      <p:sp>
        <p:nvSpPr>
          <p:cNvPr id="88" name="Picture Placeholder 27"/>
          <p:cNvSpPr>
            <a:spLocks noGrp="1"/>
          </p:cNvSpPr>
          <p:nvPr>
            <p:ph type="pic" sz="quarter" idx="26" hasCustomPrompt="1"/>
          </p:nvPr>
        </p:nvSpPr>
        <p:spPr>
          <a:xfrm>
            <a:off x="9509757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55" name="Text Placeholder 28"/>
          <p:cNvSpPr>
            <a:spLocks noGrp="1"/>
          </p:cNvSpPr>
          <p:nvPr>
            <p:ph type="body" sz="quarter" idx="27" hasCustomPrompt="1"/>
          </p:nvPr>
        </p:nvSpPr>
        <p:spPr>
          <a:xfrm>
            <a:off x="9514829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57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9514612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89" name="Picture Placeholder 30"/>
          <p:cNvSpPr>
            <a:spLocks noGrp="1"/>
          </p:cNvSpPr>
          <p:nvPr>
            <p:ph type="pic" sz="quarter" idx="29" hasCustomPrompt="1"/>
          </p:nvPr>
        </p:nvSpPr>
        <p:spPr>
          <a:xfrm>
            <a:off x="10631785" y="1679581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1" name="Text Placeholder 31"/>
          <p:cNvSpPr>
            <a:spLocks noGrp="1"/>
          </p:cNvSpPr>
          <p:nvPr>
            <p:ph type="body" sz="quarter" idx="30" hasCustomPrompt="1"/>
          </p:nvPr>
        </p:nvSpPr>
        <p:spPr>
          <a:xfrm>
            <a:off x="10637337" y="274114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63" name="Text Placeholder 32"/>
          <p:cNvSpPr>
            <a:spLocks noGrp="1"/>
          </p:cNvSpPr>
          <p:nvPr>
            <p:ph type="body" sz="quarter" idx="31" hasCustomPrompt="1"/>
          </p:nvPr>
        </p:nvSpPr>
        <p:spPr>
          <a:xfrm>
            <a:off x="10637337" y="289076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9" name="Picture Placeholder 33"/>
          <p:cNvSpPr>
            <a:spLocks noGrp="1"/>
          </p:cNvSpPr>
          <p:nvPr>
            <p:ph type="pic" sz="quarter" idx="32" hasCustomPrompt="1"/>
          </p:nvPr>
        </p:nvSpPr>
        <p:spPr>
          <a:xfrm>
            <a:off x="533539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6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542458" y="4351574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75" name="Text Placeholder 35"/>
          <p:cNvSpPr>
            <a:spLocks noGrp="1"/>
          </p:cNvSpPr>
          <p:nvPr>
            <p:ph type="body" sz="quarter" idx="34" hasCustomPrompt="1"/>
          </p:nvPr>
        </p:nvSpPr>
        <p:spPr>
          <a:xfrm>
            <a:off x="542458" y="4507117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0" name="Picture Placeholder 36"/>
          <p:cNvSpPr>
            <a:spLocks noGrp="1"/>
          </p:cNvSpPr>
          <p:nvPr>
            <p:ph type="pic" sz="quarter" idx="35" hasCustomPrompt="1"/>
          </p:nvPr>
        </p:nvSpPr>
        <p:spPr>
          <a:xfrm>
            <a:off x="1655566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79" name="Text Placeholder 37"/>
          <p:cNvSpPr>
            <a:spLocks noGrp="1"/>
          </p:cNvSpPr>
          <p:nvPr>
            <p:ph type="body" sz="quarter" idx="36" hasCustomPrompt="1"/>
          </p:nvPr>
        </p:nvSpPr>
        <p:spPr>
          <a:xfrm>
            <a:off x="1664816" y="4351574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1" name="Text Placeholder 38"/>
          <p:cNvSpPr>
            <a:spLocks noGrp="1"/>
          </p:cNvSpPr>
          <p:nvPr>
            <p:ph type="body" sz="quarter" idx="37" hasCustomPrompt="1"/>
          </p:nvPr>
        </p:nvSpPr>
        <p:spPr>
          <a:xfrm>
            <a:off x="1664816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1" name="Picture Placeholder 39"/>
          <p:cNvSpPr>
            <a:spLocks noGrp="1"/>
          </p:cNvSpPr>
          <p:nvPr>
            <p:ph type="pic" sz="quarter" idx="38" hasCustomPrompt="1"/>
          </p:nvPr>
        </p:nvSpPr>
        <p:spPr>
          <a:xfrm>
            <a:off x="2777593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5" name="Text Placeholder 40"/>
          <p:cNvSpPr>
            <a:spLocks noGrp="1"/>
          </p:cNvSpPr>
          <p:nvPr>
            <p:ph type="body" sz="quarter" idx="39" hasCustomPrompt="1"/>
          </p:nvPr>
        </p:nvSpPr>
        <p:spPr>
          <a:xfrm>
            <a:off x="2783473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87" name="Text Placeholder 41"/>
          <p:cNvSpPr>
            <a:spLocks noGrp="1"/>
          </p:cNvSpPr>
          <p:nvPr>
            <p:ph type="body" sz="quarter" idx="40" hasCustomPrompt="1"/>
          </p:nvPr>
        </p:nvSpPr>
        <p:spPr>
          <a:xfrm>
            <a:off x="2783599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2" name="Picture Placeholder 42"/>
          <p:cNvSpPr>
            <a:spLocks noGrp="1"/>
          </p:cNvSpPr>
          <p:nvPr>
            <p:ph type="pic" sz="quarter" idx="41" hasCustomPrompt="1"/>
          </p:nvPr>
        </p:nvSpPr>
        <p:spPr>
          <a:xfrm>
            <a:off x="3899620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08" name="Text Placeholder 43"/>
          <p:cNvSpPr>
            <a:spLocks noGrp="1"/>
          </p:cNvSpPr>
          <p:nvPr>
            <p:ph type="body" sz="quarter" idx="42" hasCustomPrompt="1"/>
          </p:nvPr>
        </p:nvSpPr>
        <p:spPr>
          <a:xfrm>
            <a:off x="3905454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12" name="Text Placeholder 44"/>
          <p:cNvSpPr>
            <a:spLocks noGrp="1"/>
          </p:cNvSpPr>
          <p:nvPr>
            <p:ph type="body" sz="quarter" idx="43" hasCustomPrompt="1"/>
          </p:nvPr>
        </p:nvSpPr>
        <p:spPr>
          <a:xfrm>
            <a:off x="3905453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3" name="Picture Placeholder 45"/>
          <p:cNvSpPr>
            <a:spLocks noGrp="1"/>
          </p:cNvSpPr>
          <p:nvPr>
            <p:ph type="pic" sz="quarter" idx="44" hasCustomPrompt="1"/>
          </p:nvPr>
        </p:nvSpPr>
        <p:spPr>
          <a:xfrm>
            <a:off x="5021647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0" name="Text Placeholder 46"/>
          <p:cNvSpPr>
            <a:spLocks noGrp="1"/>
          </p:cNvSpPr>
          <p:nvPr>
            <p:ph type="body" sz="quarter" idx="45" hasCustomPrompt="1"/>
          </p:nvPr>
        </p:nvSpPr>
        <p:spPr>
          <a:xfrm>
            <a:off x="5027435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24" name="Text Placeholder 47"/>
          <p:cNvSpPr>
            <a:spLocks noGrp="1"/>
          </p:cNvSpPr>
          <p:nvPr>
            <p:ph type="body" sz="quarter" idx="46" hasCustomPrompt="1"/>
          </p:nvPr>
        </p:nvSpPr>
        <p:spPr>
          <a:xfrm>
            <a:off x="5027497" y="4507117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4" name="Picture Placeholder 48"/>
          <p:cNvSpPr>
            <a:spLocks noGrp="1"/>
          </p:cNvSpPr>
          <p:nvPr>
            <p:ph type="pic" sz="quarter" idx="47" hasCustomPrompt="1"/>
          </p:nvPr>
        </p:nvSpPr>
        <p:spPr>
          <a:xfrm>
            <a:off x="6143675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32" name="Text Placeholder 49"/>
          <p:cNvSpPr>
            <a:spLocks noGrp="1"/>
          </p:cNvSpPr>
          <p:nvPr>
            <p:ph type="body" sz="quarter" idx="48" hasCustomPrompt="1"/>
          </p:nvPr>
        </p:nvSpPr>
        <p:spPr>
          <a:xfrm>
            <a:off x="6149416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36" name="Text Placeholder 50"/>
          <p:cNvSpPr>
            <a:spLocks noGrp="1"/>
          </p:cNvSpPr>
          <p:nvPr>
            <p:ph type="body" sz="quarter" idx="49" hasCustomPrompt="1"/>
          </p:nvPr>
        </p:nvSpPr>
        <p:spPr>
          <a:xfrm>
            <a:off x="6149351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5" name="Picture Placeholder 51"/>
          <p:cNvSpPr>
            <a:spLocks noGrp="1"/>
          </p:cNvSpPr>
          <p:nvPr>
            <p:ph type="pic" sz="quarter" idx="50" hasCustomPrompt="1"/>
          </p:nvPr>
        </p:nvSpPr>
        <p:spPr>
          <a:xfrm>
            <a:off x="7265702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44" name="Text Placeholder 52"/>
          <p:cNvSpPr>
            <a:spLocks noGrp="1"/>
          </p:cNvSpPr>
          <p:nvPr>
            <p:ph type="body" sz="quarter" idx="51" hasCustomPrompt="1"/>
          </p:nvPr>
        </p:nvSpPr>
        <p:spPr>
          <a:xfrm>
            <a:off x="7271397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48" name="Text Placeholder 53"/>
          <p:cNvSpPr>
            <a:spLocks noGrp="1"/>
          </p:cNvSpPr>
          <p:nvPr>
            <p:ph type="body" sz="quarter" idx="52" hasCustomPrompt="1"/>
          </p:nvPr>
        </p:nvSpPr>
        <p:spPr>
          <a:xfrm>
            <a:off x="7271395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6" name="Picture Placeholder 54"/>
          <p:cNvSpPr>
            <a:spLocks noGrp="1"/>
          </p:cNvSpPr>
          <p:nvPr>
            <p:ph type="pic" sz="quarter" idx="53" hasCustomPrompt="1"/>
          </p:nvPr>
        </p:nvSpPr>
        <p:spPr>
          <a:xfrm>
            <a:off x="8387729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56" name="Text Placeholder 55"/>
          <p:cNvSpPr>
            <a:spLocks noGrp="1"/>
          </p:cNvSpPr>
          <p:nvPr>
            <p:ph type="body" sz="quarter" idx="54" hasCustomPrompt="1"/>
          </p:nvPr>
        </p:nvSpPr>
        <p:spPr>
          <a:xfrm>
            <a:off x="8393379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60" name="Text Placeholder 56"/>
          <p:cNvSpPr>
            <a:spLocks noGrp="1"/>
          </p:cNvSpPr>
          <p:nvPr>
            <p:ph type="body" sz="quarter" idx="55" hasCustomPrompt="1"/>
          </p:nvPr>
        </p:nvSpPr>
        <p:spPr>
          <a:xfrm>
            <a:off x="8393440" y="4507117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7" name="Picture Placeholder 57"/>
          <p:cNvSpPr>
            <a:spLocks noGrp="1"/>
          </p:cNvSpPr>
          <p:nvPr>
            <p:ph type="pic" sz="quarter" idx="56" hasCustomPrompt="1"/>
          </p:nvPr>
        </p:nvSpPr>
        <p:spPr>
          <a:xfrm>
            <a:off x="9509756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68" name="Text Placeholder 58"/>
          <p:cNvSpPr>
            <a:spLocks noGrp="1"/>
          </p:cNvSpPr>
          <p:nvPr>
            <p:ph type="body" sz="quarter" idx="57" hasCustomPrompt="1"/>
          </p:nvPr>
        </p:nvSpPr>
        <p:spPr>
          <a:xfrm>
            <a:off x="9515360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72" name="Text Placeholder 59"/>
          <p:cNvSpPr>
            <a:spLocks noGrp="1"/>
          </p:cNvSpPr>
          <p:nvPr>
            <p:ph type="body" sz="quarter" idx="58" hasCustomPrompt="1"/>
          </p:nvPr>
        </p:nvSpPr>
        <p:spPr>
          <a:xfrm>
            <a:off x="9515293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98" name="Picture Placeholder 60"/>
          <p:cNvSpPr>
            <a:spLocks noGrp="1"/>
          </p:cNvSpPr>
          <p:nvPr>
            <p:ph type="pic" sz="quarter" idx="59" hasCustomPrompt="1"/>
          </p:nvPr>
        </p:nvSpPr>
        <p:spPr>
          <a:xfrm>
            <a:off x="10631784" y="3277791"/>
            <a:ext cx="1033272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80" name="Text Placeholder 61"/>
          <p:cNvSpPr>
            <a:spLocks noGrp="1"/>
          </p:cNvSpPr>
          <p:nvPr>
            <p:ph type="body" sz="quarter" idx="60" hasCustomPrompt="1"/>
          </p:nvPr>
        </p:nvSpPr>
        <p:spPr>
          <a:xfrm>
            <a:off x="10637337" y="4351574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88" name="Text Placeholder 62"/>
          <p:cNvSpPr>
            <a:spLocks noGrp="1"/>
          </p:cNvSpPr>
          <p:nvPr>
            <p:ph type="body" sz="quarter" idx="61" hasCustomPrompt="1"/>
          </p:nvPr>
        </p:nvSpPr>
        <p:spPr>
          <a:xfrm>
            <a:off x="10637337" y="4507117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6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1219200" rtl="0" eaLnBrk="1" latinLnBrk="0" hangingPunct="1">
              <a:defRPr sz="700" kern="1200" spc="20" baseline="0">
                <a:solidFill>
                  <a:srgbClr val="303A4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6" name="Picture Placeholder 33"/>
          <p:cNvSpPr>
            <a:spLocks noGrp="1"/>
          </p:cNvSpPr>
          <p:nvPr>
            <p:ph type="pic" sz="quarter" idx="65" hasCustomPrompt="1"/>
          </p:nvPr>
        </p:nvSpPr>
        <p:spPr>
          <a:xfrm>
            <a:off x="533540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8" name="Text Placeholder 34"/>
          <p:cNvSpPr>
            <a:spLocks noGrp="1"/>
          </p:cNvSpPr>
          <p:nvPr>
            <p:ph type="body" sz="quarter" idx="66" hasCustomPrompt="1"/>
          </p:nvPr>
        </p:nvSpPr>
        <p:spPr>
          <a:xfrm>
            <a:off x="542458" y="5943982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0" name="Text Placeholder 35"/>
          <p:cNvSpPr>
            <a:spLocks noGrp="1"/>
          </p:cNvSpPr>
          <p:nvPr>
            <p:ph type="body" sz="quarter" idx="67" hasCustomPrompt="1"/>
          </p:nvPr>
        </p:nvSpPr>
        <p:spPr>
          <a:xfrm>
            <a:off x="542458" y="6099525"/>
            <a:ext cx="1021029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1" name="Picture Placeholder 36"/>
          <p:cNvSpPr>
            <a:spLocks noGrp="1"/>
          </p:cNvSpPr>
          <p:nvPr>
            <p:ph type="pic" sz="quarter" idx="68" hasCustomPrompt="1"/>
          </p:nvPr>
        </p:nvSpPr>
        <p:spPr>
          <a:xfrm>
            <a:off x="1655567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2" name="Text Placeholder 37"/>
          <p:cNvSpPr>
            <a:spLocks noGrp="1"/>
          </p:cNvSpPr>
          <p:nvPr>
            <p:ph type="body" sz="quarter" idx="69" hasCustomPrompt="1"/>
          </p:nvPr>
        </p:nvSpPr>
        <p:spPr>
          <a:xfrm>
            <a:off x="1664816" y="5943982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4" name="Text Placeholder 38"/>
          <p:cNvSpPr>
            <a:spLocks noGrp="1"/>
          </p:cNvSpPr>
          <p:nvPr>
            <p:ph type="body" sz="quarter" idx="70" hasCustomPrompt="1"/>
          </p:nvPr>
        </p:nvSpPr>
        <p:spPr>
          <a:xfrm>
            <a:off x="1664816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16" name="Picture Placeholder 39"/>
          <p:cNvSpPr>
            <a:spLocks noGrp="1"/>
          </p:cNvSpPr>
          <p:nvPr>
            <p:ph type="pic" sz="quarter" idx="71" hasCustomPrompt="1"/>
          </p:nvPr>
        </p:nvSpPr>
        <p:spPr>
          <a:xfrm>
            <a:off x="2777594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17" name="Text Placeholder 40"/>
          <p:cNvSpPr>
            <a:spLocks noGrp="1"/>
          </p:cNvSpPr>
          <p:nvPr>
            <p:ph type="body" sz="quarter" idx="72" hasCustomPrompt="1"/>
          </p:nvPr>
        </p:nvSpPr>
        <p:spPr>
          <a:xfrm>
            <a:off x="2783473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73" hasCustomPrompt="1"/>
          </p:nvPr>
        </p:nvSpPr>
        <p:spPr>
          <a:xfrm>
            <a:off x="2783599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0" name="Picture Placeholder 42"/>
          <p:cNvSpPr>
            <a:spLocks noGrp="1"/>
          </p:cNvSpPr>
          <p:nvPr>
            <p:ph type="pic" sz="quarter" idx="74" hasCustomPrompt="1"/>
          </p:nvPr>
        </p:nvSpPr>
        <p:spPr>
          <a:xfrm>
            <a:off x="3899621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2" name="Text Placeholder 43"/>
          <p:cNvSpPr>
            <a:spLocks noGrp="1"/>
          </p:cNvSpPr>
          <p:nvPr>
            <p:ph type="body" sz="quarter" idx="75" hasCustomPrompt="1"/>
          </p:nvPr>
        </p:nvSpPr>
        <p:spPr>
          <a:xfrm>
            <a:off x="3905454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3" name="Text Placeholder 44"/>
          <p:cNvSpPr>
            <a:spLocks noGrp="1"/>
          </p:cNvSpPr>
          <p:nvPr>
            <p:ph type="body" sz="quarter" idx="76" hasCustomPrompt="1"/>
          </p:nvPr>
        </p:nvSpPr>
        <p:spPr>
          <a:xfrm>
            <a:off x="3905453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4" name="Picture Placeholder 45"/>
          <p:cNvSpPr>
            <a:spLocks noGrp="1"/>
          </p:cNvSpPr>
          <p:nvPr>
            <p:ph type="pic" sz="quarter" idx="77" hasCustomPrompt="1"/>
          </p:nvPr>
        </p:nvSpPr>
        <p:spPr>
          <a:xfrm>
            <a:off x="5021648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26" name="Text Placeholder 46"/>
          <p:cNvSpPr>
            <a:spLocks noGrp="1"/>
          </p:cNvSpPr>
          <p:nvPr>
            <p:ph type="body" sz="quarter" idx="78" hasCustomPrompt="1"/>
          </p:nvPr>
        </p:nvSpPr>
        <p:spPr>
          <a:xfrm>
            <a:off x="5027435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28" name="Text Placeholder 47"/>
          <p:cNvSpPr>
            <a:spLocks noGrp="1"/>
          </p:cNvSpPr>
          <p:nvPr>
            <p:ph type="body" sz="quarter" idx="79" hasCustomPrompt="1"/>
          </p:nvPr>
        </p:nvSpPr>
        <p:spPr>
          <a:xfrm>
            <a:off x="5027497" y="6099525"/>
            <a:ext cx="102420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29" name="Picture Placeholder 48"/>
          <p:cNvSpPr>
            <a:spLocks noGrp="1"/>
          </p:cNvSpPr>
          <p:nvPr>
            <p:ph type="pic" sz="quarter" idx="80" hasCustomPrompt="1"/>
          </p:nvPr>
        </p:nvSpPr>
        <p:spPr>
          <a:xfrm>
            <a:off x="6143676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0" name="Text Placeholder 49"/>
          <p:cNvSpPr>
            <a:spLocks noGrp="1"/>
          </p:cNvSpPr>
          <p:nvPr>
            <p:ph type="body" sz="quarter" idx="81" hasCustomPrompt="1"/>
          </p:nvPr>
        </p:nvSpPr>
        <p:spPr>
          <a:xfrm>
            <a:off x="6149416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2" name="Text Placeholder 50"/>
          <p:cNvSpPr>
            <a:spLocks noGrp="1"/>
          </p:cNvSpPr>
          <p:nvPr>
            <p:ph type="body" sz="quarter" idx="82" hasCustomPrompt="1"/>
          </p:nvPr>
        </p:nvSpPr>
        <p:spPr>
          <a:xfrm>
            <a:off x="6149351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34" name="Picture Placeholder 51"/>
          <p:cNvSpPr>
            <a:spLocks noGrp="1"/>
          </p:cNvSpPr>
          <p:nvPr>
            <p:ph type="pic" sz="quarter" idx="83" hasCustomPrompt="1"/>
          </p:nvPr>
        </p:nvSpPr>
        <p:spPr>
          <a:xfrm>
            <a:off x="7265703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35" name="Text Placeholder 52"/>
          <p:cNvSpPr>
            <a:spLocks noGrp="1"/>
          </p:cNvSpPr>
          <p:nvPr>
            <p:ph type="body" sz="quarter" idx="84" hasCustomPrompt="1"/>
          </p:nvPr>
        </p:nvSpPr>
        <p:spPr>
          <a:xfrm>
            <a:off x="7271397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36" name="Text Placeholder 53"/>
          <p:cNvSpPr>
            <a:spLocks noGrp="1"/>
          </p:cNvSpPr>
          <p:nvPr>
            <p:ph type="body" sz="quarter" idx="85" hasCustomPrompt="1"/>
          </p:nvPr>
        </p:nvSpPr>
        <p:spPr>
          <a:xfrm>
            <a:off x="7271395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38" name="Picture Placeholder 54"/>
          <p:cNvSpPr>
            <a:spLocks noGrp="1"/>
          </p:cNvSpPr>
          <p:nvPr>
            <p:ph type="pic" sz="quarter" idx="86" hasCustomPrompt="1"/>
          </p:nvPr>
        </p:nvSpPr>
        <p:spPr>
          <a:xfrm>
            <a:off x="8387730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0" name="Text Placeholder 55"/>
          <p:cNvSpPr>
            <a:spLocks noGrp="1"/>
          </p:cNvSpPr>
          <p:nvPr>
            <p:ph type="body" sz="quarter" idx="87" hasCustomPrompt="1"/>
          </p:nvPr>
        </p:nvSpPr>
        <p:spPr>
          <a:xfrm>
            <a:off x="8393379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1" name="Text Placeholder 56"/>
          <p:cNvSpPr>
            <a:spLocks noGrp="1"/>
          </p:cNvSpPr>
          <p:nvPr>
            <p:ph type="body" sz="quarter" idx="88" hasCustomPrompt="1"/>
          </p:nvPr>
        </p:nvSpPr>
        <p:spPr>
          <a:xfrm>
            <a:off x="8393440" y="6099525"/>
            <a:ext cx="1024204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2" name="Picture Placeholder 57"/>
          <p:cNvSpPr>
            <a:spLocks noGrp="1"/>
          </p:cNvSpPr>
          <p:nvPr>
            <p:ph type="pic" sz="quarter" idx="89" hasCustomPrompt="1"/>
          </p:nvPr>
        </p:nvSpPr>
        <p:spPr>
          <a:xfrm>
            <a:off x="9509757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4" name="Text Placeholder 58"/>
          <p:cNvSpPr>
            <a:spLocks noGrp="1"/>
          </p:cNvSpPr>
          <p:nvPr>
            <p:ph type="body" sz="quarter" idx="90" hasCustomPrompt="1"/>
          </p:nvPr>
        </p:nvSpPr>
        <p:spPr>
          <a:xfrm>
            <a:off x="9515360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46" name="Text Placeholder 59"/>
          <p:cNvSpPr>
            <a:spLocks noGrp="1"/>
          </p:cNvSpPr>
          <p:nvPr>
            <p:ph type="body" sz="quarter" idx="91" hasCustomPrompt="1"/>
          </p:nvPr>
        </p:nvSpPr>
        <p:spPr>
          <a:xfrm>
            <a:off x="9515293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47" name="Picture Placeholder 60"/>
          <p:cNvSpPr>
            <a:spLocks noGrp="1"/>
          </p:cNvSpPr>
          <p:nvPr>
            <p:ph type="pic" sz="quarter" idx="92" hasCustomPrompt="1"/>
          </p:nvPr>
        </p:nvSpPr>
        <p:spPr>
          <a:xfrm>
            <a:off x="10631785" y="4880908"/>
            <a:ext cx="1029947" cy="1005840"/>
          </a:xfrm>
          <a:prstGeom prst="rect">
            <a:avLst/>
          </a:prstGeom>
          <a:noFill/>
        </p:spPr>
        <p:txBody>
          <a:bodyPr tIns="0" bIns="54864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Insert Picture</a:t>
            </a:r>
          </a:p>
        </p:txBody>
      </p:sp>
      <p:sp>
        <p:nvSpPr>
          <p:cNvPr id="48" name="Text Placeholder 61"/>
          <p:cNvSpPr>
            <a:spLocks noGrp="1"/>
          </p:cNvSpPr>
          <p:nvPr>
            <p:ph type="body" sz="quarter" idx="93" hasCustomPrompt="1"/>
          </p:nvPr>
        </p:nvSpPr>
        <p:spPr>
          <a:xfrm>
            <a:off x="10637337" y="5943982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First and Last Name</a:t>
            </a:r>
          </a:p>
        </p:txBody>
      </p:sp>
      <p:sp>
        <p:nvSpPr>
          <p:cNvPr id="50" name="Text Placeholder 62"/>
          <p:cNvSpPr>
            <a:spLocks noGrp="1"/>
          </p:cNvSpPr>
          <p:nvPr>
            <p:ph type="body" sz="quarter" idx="94" hasCustomPrompt="1"/>
          </p:nvPr>
        </p:nvSpPr>
        <p:spPr>
          <a:xfrm>
            <a:off x="10637337" y="6099525"/>
            <a:ext cx="1024395" cy="15388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 sz="800">
                <a:solidFill>
                  <a:srgbClr val="74899D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Tx/>
              <a:buFont typeface="Arial" panose="020B0604020202020204" pitchFamily="34" charset="0"/>
              <a:buNone/>
              <a:defRPr/>
            </a:pPr>
            <a:r>
              <a:rPr lang="en-US"/>
              <a:t>Position / Title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sz="quarter" idx="1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rgbClr val="303A4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00" name="Date Placeholder 45"/>
          <p:cNvSpPr>
            <a:spLocks noGrp="1"/>
          </p:cNvSpPr>
          <p:nvPr>
            <p:ph type="dt" sz="half" idx="95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rgbClr val="303A4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7F08DC8-B83B-204C-A56D-D41478F95502}" type="datetime3">
              <a:rPr lang="en-GB" smtClean="0"/>
              <a:t>2 October, 2025</a:t>
            </a:fld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20895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End Slide - Saffron">
    <p:bg>
      <p:bgPr>
        <a:solidFill>
          <a:srgbClr val="E7C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8781" y="5301842"/>
            <a:ext cx="11563077" cy="1283501"/>
          </a:xfrm>
          <a:prstGeom prst="rect">
            <a:avLst/>
          </a:prstGeom>
        </p:spPr>
      </p:pic>
      <p:sp>
        <p:nvSpPr>
          <p:cNvPr id="5" name="TextBox 1"/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b="0" i="0">
                <a:solidFill>
                  <a:srgbClr val="303A44"/>
                </a:solidFill>
                <a:latin typeface="+mn-lt"/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7832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End Slide - Slate">
    <p:bg>
      <p:bgPr>
        <a:solidFill>
          <a:srgbClr val="303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rcRect l="2" r="2"/>
          <a:stretch>
            <a:fillRect/>
          </a:stretch>
        </p:blipFill>
        <p:spPr>
          <a:xfrm>
            <a:off x="318781" y="5301842"/>
            <a:ext cx="11562499" cy="1283501"/>
          </a:xfrm>
          <a:prstGeom prst="rect">
            <a:avLst/>
          </a:prstGeom>
        </p:spPr>
      </p:pic>
      <p:sp>
        <p:nvSpPr>
          <p:cNvPr id="3" name="TextBox 1"/>
          <p:cNvSpPr txBox="1"/>
          <p:nvPr userDrawn="1"/>
        </p:nvSpPr>
        <p:spPr>
          <a:xfrm>
            <a:off x="8416763" y="272657"/>
            <a:ext cx="3465095" cy="1251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b="0" i="0">
                <a:solidFill>
                  <a:srgbClr val="F5F3ED"/>
                </a:solidFill>
                <a:latin typeface="+mn-lt"/>
                <a:ea typeface="Noto Sans" panose="020B0502040504020204" pitchFamily="34" charset="0"/>
                <a:cs typeface="Calibri" panose="020F0502020204030204" pitchFamily="34" charset="0"/>
              </a:rPr>
              <a:t>gatesfoundation.org</a:t>
            </a:r>
          </a:p>
        </p:txBody>
      </p:sp>
    </p:spTree>
    <p:extLst>
      <p:ext uri="{BB962C8B-B14F-4D97-AF65-F5344CB8AC3E}">
        <p14:creationId xmlns:p14="http://schemas.microsoft.com/office/powerpoint/2010/main" val="15042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9864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3711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ext Slide - Parch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Basic text slide – parchment background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42457" y="1021112"/>
            <a:ext cx="1111927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600" b="0" i="0" baseline="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171450" lvl="0" indent="-171450">
              <a:lnSpc>
                <a:spcPct val="100000"/>
              </a:lnSpc>
            </a:pPr>
            <a:r>
              <a:rPr lang="en-US"/>
              <a:t>Page Description / Narrative Text (Optional)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5486" y="6234102"/>
            <a:ext cx="11119274" cy="20005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buFontTx/>
              <a:buNone/>
              <a:defRPr lang="en-US" sz="700" i="1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1" name="Date Placeholder 5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700" spc="20" baseline="0" smtClean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C92EC4D-7FB8-6444-9B47-C6CAB9319D7D}" type="datetime3">
              <a:rPr lang="en-US" smtClean="0"/>
              <a:t>2 October 2025</a:t>
            </a:fld>
            <a:endParaRPr lang="en-US"/>
          </a:p>
        </p:txBody>
      </p:sp>
      <p:sp>
        <p:nvSpPr>
          <p:cNvPr id="1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38063" y="6577816"/>
            <a:ext cx="4115872" cy="1077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undation Master Template (TO EDIT THIS TEXT: select Header &amp; Footer on Insert tab) 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3F7C509-FEEF-45D3-B896-7C07814C0C13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542457" y="1585029"/>
            <a:ext cx="11112303" cy="4649073"/>
          </a:xfrm>
          <a:noFill/>
        </p:spPr>
        <p:txBody>
          <a:bodyPr lIns="182880" tIns="182880" rIns="182880" bIns="182880">
            <a:noAutofit/>
          </a:bodyPr>
          <a:lstStyle>
            <a:lvl1pPr>
              <a:lnSpc>
                <a:spcPct val="1140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159408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00000"/>
            </a:gs>
            <a:gs pos="100000">
              <a:srgbClr val="5F5F5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065" imgH="12065" progId="TCLayout.ActiveDocument.1">
                  <p:embed/>
                </p:oleObj>
              </mc:Choice>
              <mc:Fallback>
                <p:oleObj name="think-cell Slide" r:id="rId3" imgW="12065" imgH="12065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35487" y="2681103"/>
            <a:ext cx="3222394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5F3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Slide Number Placeholder 6"/>
          <p:cNvSpPr txBox="1"/>
          <p:nvPr userDrawn="1"/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F7C509-FEEF-45D3-B896-7C07814C0C13}" type="slidenum">
              <a:rPr lang="en-US" smtClean="0">
                <a:solidFill>
                  <a:schemeClr val="tx1"/>
                </a:solidFill>
                <a:cs typeface="+mn-cs"/>
              </a:rPr>
              <a:t>‹#›</a:t>
            </a:fld>
            <a:endParaRPr lang="en-US">
              <a:solidFill>
                <a:schemeClr val="tx1"/>
              </a:solidFill>
              <a:cs typeface="+mn-cs"/>
            </a:endParaRPr>
          </a:p>
        </p:txBody>
      </p:sp>
      <p:sp>
        <p:nvSpPr>
          <p:cNvPr id="18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 defTabSz="1219200"/>
            <a:r>
              <a:rPr lang="en-US">
                <a:solidFill>
                  <a:srgbClr val="000000"/>
                </a:solidFill>
                <a:latin typeface="Calibri" panose="020F0502020204030204"/>
              </a:rPr>
              <a:t>© Bill &amp; Melinda Gates Foundation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1219200" rtl="0" eaLnBrk="1" latinLnBrk="0" hangingPunct="1">
              <a:defRPr lang="en-US" sz="700" kern="1200" spc="20" baseline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074AC8B-E564-42F9-9181-6BEE030F5481}" type="datetime3">
              <a:rPr lang="en-US" smtClean="0"/>
              <a:t>2 October 2025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408573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4" name="Rectangle 3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391712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52701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rrow two third">
    <p:bg>
      <p:bgPr>
        <a:gradFill flip="none" rotWithShape="1">
          <a:gsLst>
            <a:gs pos="0">
              <a:srgbClr val="000000"/>
            </a:gs>
            <a:gs pos="100000">
              <a:srgbClr val="5F5F5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065" imgH="12065" progId="TCLayout.ActiveDocument.1">
                  <p:embed/>
                </p:oleObj>
              </mc:Choice>
              <mc:Fallback>
                <p:oleObj name="think-cell Slide" r:id="rId3" imgW="12065" imgH="12065" progId="TCLayout.ActiveDocument.1">
                  <p:embed/>
                  <p:pic>
                    <p:nvPicPr>
                      <p:cNvPr id="3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5F3E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35487" y="535517"/>
            <a:ext cx="6351313" cy="36576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6"/>
          <p:cNvSpPr txBox="1"/>
          <p:nvPr userDrawn="1"/>
        </p:nvSpPr>
        <p:spPr>
          <a:xfrm>
            <a:off x="11408288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F7C509-FEEF-45D3-B896-7C07814C0C13}" type="slidenum">
              <a:rPr lang="en-US" smtClean="0">
                <a:solidFill>
                  <a:srgbClr val="FFFFFF"/>
                </a:solidFill>
                <a:cs typeface="+mn-cs"/>
              </a:rPr>
              <a:t>‹#›</a:t>
            </a:fld>
            <a:endParaRPr lang="en-US">
              <a:solidFill>
                <a:srgbClr val="FFFFFF"/>
              </a:solidFill>
              <a:cs typeface="+mn-cs"/>
            </a:endParaRPr>
          </a:p>
        </p:txBody>
      </p:sp>
      <p:sp>
        <p:nvSpPr>
          <p:cNvPr id="18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 defTabSz="1219200"/>
            <a:r>
              <a:rPr lang="en-US">
                <a:solidFill>
                  <a:srgbClr val="FFFFFF"/>
                </a:solidFill>
                <a:latin typeface="Calibri" panose="020F0502020204030204"/>
              </a:rPr>
              <a:t>© Bill &amp; Melinda Gates Foundation</a:t>
            </a:r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2"/>
          </p:nvPr>
        </p:nvSpPr>
        <p:spPr>
          <a:xfrm>
            <a:off x="535486" y="6586325"/>
            <a:ext cx="2743915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1219200" rtl="0" eaLnBrk="1" latinLnBrk="0" hangingPunct="1">
              <a:defRPr lang="en-US" sz="700" kern="1200" spc="20" baseline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580012-3DEB-4B58-A3EF-5D805F2E0C4C}" type="datetime3">
              <a:rPr lang="en-US" smtClean="0"/>
              <a:t>2 October 2025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4832861" y="1148"/>
            <a:ext cx="2526278" cy="311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13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PRELIMINARY – TO BE VALIDATED</a:t>
            </a:r>
          </a:p>
        </p:txBody>
      </p:sp>
    </p:spTree>
    <p:extLst>
      <p:ext uri="{BB962C8B-B14F-4D97-AF65-F5344CB8AC3E}">
        <p14:creationId xmlns:p14="http://schemas.microsoft.com/office/powerpoint/2010/main" val="215911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/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884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/>
          <p:nvPr>
            <p:custDataLst>
              <p:tags r:id="rId1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Gates-logo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257939" y="1"/>
            <a:ext cx="2266406" cy="2266406"/>
          </a:xfrm>
          <a:prstGeom prst="rect">
            <a:avLst/>
          </a:prstGeom>
        </p:spPr>
      </p:pic>
      <p:sp>
        <p:nvSpPr>
          <p:cNvPr id="11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655412" y="5322674"/>
            <a:ext cx="10846197" cy="760868"/>
          </a:xfrm>
        </p:spPr>
        <p:txBody>
          <a:bodyPr/>
          <a:lstStyle>
            <a:lvl1pPr marL="1905" marR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1905" marR="0" lvl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panose="020B0604020202020204"/>
              </a:rPr>
              <a:t>Presenters (Arial 12 pt, gray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412" y="4755746"/>
            <a:ext cx="10868934" cy="274636"/>
          </a:xfrm>
        </p:spPr>
        <p:txBody>
          <a:bodyPr anchor="ctr"/>
          <a:lstStyle>
            <a:lvl1pPr marL="0" marR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(Arial 12 pt, gray)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655411" y="4337432"/>
            <a:ext cx="10846198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12" y="3671232"/>
            <a:ext cx="10868934" cy="440163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+mn-lt"/>
                <a:cs typeface="Arial" panose="020B0604020202020204"/>
              </a:defRPr>
            </a:lvl1pPr>
          </a:lstStyle>
          <a:p>
            <a:pPr marR="0" lvl="0" defTabSz="8890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/>
              <a:t>Subtitle in Title Case (Arial 14 </a:t>
            </a:r>
            <a:r>
              <a:rPr lang="en-US" err="1"/>
              <a:t>pt</a:t>
            </a:r>
            <a:r>
              <a:rPr lang="en-US"/>
              <a:t>, Red)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55411" y="2883500"/>
            <a:ext cx="10868933" cy="699363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/>
              <a:t>Title in Title Case (Arial 24 </a:t>
            </a:r>
            <a:r>
              <a:rPr lang="en-US" err="1"/>
              <a:t>pt</a:t>
            </a:r>
            <a:r>
              <a:rPr lang="en-US"/>
              <a:t>, Black)</a:t>
            </a:r>
          </a:p>
        </p:txBody>
      </p:sp>
    </p:spTree>
    <p:extLst>
      <p:ext uri="{BB962C8B-B14F-4D97-AF65-F5344CB8AC3E}">
        <p14:creationId xmlns:p14="http://schemas.microsoft.com/office/powerpoint/2010/main" val="285243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9059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9262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4329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27130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89768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1570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76529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9577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2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8101584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0354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55839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8685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82571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824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0795" imgH="10795" progId="TCLayout.ActiveDocument.1">
                  <p:embed/>
                </p:oleObj>
              </mc:Choice>
              <mc:Fallback>
                <p:oleObj name="think-cell Slide" r:id="rId3" imgW="10795" imgH="1079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13" name="Rectangle 12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6743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7564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9213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3154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747822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76631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747822" cy="6975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2071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4496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5706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4496" cy="6975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1836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70847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17174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>
            <a:fillRect/>
          </a:stretch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/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94488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r" defTabSz="889000" fontAlgn="base">
              <a:spcBef>
                <a:spcPct val="0"/>
              </a:spcBef>
              <a:defRPr sz="600">
                <a:solidFill>
                  <a:srgbClr val="59452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fld id="{0AAE6F06-DF1F-4AFE-8A52-B806E3E9D437}" type="slidenum">
              <a:rPr lang="en-US" smtClean="0">
                <a:solidFill>
                  <a:srgbClr val="FFFFFF"/>
                </a:solidFill>
              </a:r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6153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56496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93861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0079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81883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488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/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2515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10/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76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7406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6439870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458620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0191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3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22038537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4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46431357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5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29767863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6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16946137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7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3907517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8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6803667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9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41750737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18640442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1 mast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95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9125175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738679"/>
              </p:ext>
            </p:ext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Gates-logo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257939" y="1"/>
            <a:ext cx="2266406" cy="2266406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655412" y="5322674"/>
            <a:ext cx="10846197" cy="760868"/>
          </a:xfrm>
        </p:spPr>
        <p:txBody>
          <a:bodyPr/>
          <a:lstStyle>
            <a:lvl1pPr marL="1588" marR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1588" marR="0" lvl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Presenters (Arial 12 pt, gray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412" y="4755746"/>
            <a:ext cx="10868934" cy="274636"/>
          </a:xfrm>
        </p:spPr>
        <p:txBody>
          <a:bodyPr anchor="ctr"/>
          <a:lstStyle>
            <a:lvl1pPr marL="0" marR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(Arial 12 pt, gray)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V="1">
            <a:off x="655411" y="4337432"/>
            <a:ext cx="10846198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12" y="3671232"/>
            <a:ext cx="10868934" cy="440163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marR="0" lvl="0" defTabSz="8890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/>
              <a:t>Subtitle in Title Case (Arial 14 </a:t>
            </a:r>
            <a:r>
              <a:rPr lang="en-US" err="1"/>
              <a:t>pt</a:t>
            </a:r>
            <a:r>
              <a:rPr lang="en-US"/>
              <a:t>, Red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55411" y="2883500"/>
            <a:ext cx="10868933" cy="699363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/>
              <a:t>Title in Title Case (Arial 24 </a:t>
            </a:r>
            <a:r>
              <a:rPr lang="en-US" err="1"/>
              <a:t>pt</a:t>
            </a:r>
            <a:r>
              <a:rPr lang="en-US"/>
              <a:t>, Black)</a:t>
            </a:r>
          </a:p>
        </p:txBody>
      </p:sp>
    </p:spTree>
    <p:extLst>
      <p:ext uri="{BB962C8B-B14F-4D97-AF65-F5344CB8AC3E}">
        <p14:creationId xmlns:p14="http://schemas.microsoft.com/office/powerpoint/2010/main" val="303264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88244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210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22505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7437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1" imgH="325" progId="TCLayout.ActiveDocument.1">
                  <p:embed/>
                </p:oleObj>
              </mc:Choice>
              <mc:Fallback>
                <p:oleObj name="think-cell Slide" r:id="rId3" imgW="321" imgH="32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13" name="Rectangle 12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605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242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r" defTabSz="889000" fontAlgn="base">
              <a:spcBef>
                <a:spcPct val="0"/>
              </a:spcBef>
              <a:defRPr sz="600">
                <a:solidFill>
                  <a:srgbClr val="59452A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fld id="{0AAE6F06-DF1F-4AFE-8A52-B806E3E9D437}" type="slidenum">
              <a:rPr lang="en-US" smtClean="0">
                <a:solidFill>
                  <a:srgbClr val="FFFFFF"/>
                </a:solidFill>
              </a:rPr>
              <a:pPr lvl="0"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737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41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1035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174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985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09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618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033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863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427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88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289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790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830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025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596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515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048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632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902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5333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639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673646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814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995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673646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257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638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943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73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468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50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956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704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1789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2652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847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6903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925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2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271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01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124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544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007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050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8415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340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2561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61770"/>
              </p:ext>
            </p:ext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Gates-logo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257939" y="1"/>
            <a:ext cx="2266406" cy="2266406"/>
          </a:xfrm>
          <a:prstGeom prst="rect">
            <a:avLst/>
          </a:prstGeom>
        </p:spPr>
      </p:pic>
      <p:sp>
        <p:nvSpPr>
          <p:cNvPr id="11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655412" y="5322674"/>
            <a:ext cx="10846197" cy="760868"/>
          </a:xfrm>
        </p:spPr>
        <p:txBody>
          <a:bodyPr/>
          <a:lstStyle>
            <a:lvl1pPr marL="1588" marR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1588" marR="0" lvl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Presenters (Arial 12 pt, gray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412" y="4755746"/>
            <a:ext cx="10868934" cy="274636"/>
          </a:xfrm>
        </p:spPr>
        <p:txBody>
          <a:bodyPr anchor="ctr"/>
          <a:lstStyle>
            <a:lvl1pPr marL="0" marR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(Arial 12 pt, gray)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655411" y="4337432"/>
            <a:ext cx="10846198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12" y="3671232"/>
            <a:ext cx="10868934" cy="440163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marR="0" lvl="0" defTabSz="8890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/>
              <a:t>Subtitle in Title Case (Arial 14 </a:t>
            </a:r>
            <a:r>
              <a:rPr lang="en-US" err="1"/>
              <a:t>pt</a:t>
            </a:r>
            <a:r>
              <a:rPr lang="en-US"/>
              <a:t>, Red)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55411" y="2883500"/>
            <a:ext cx="10868933" cy="699363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/>
              <a:t>Title in Title Case (Arial 24 </a:t>
            </a:r>
            <a:r>
              <a:rPr lang="en-US" err="1"/>
              <a:t>pt</a:t>
            </a:r>
            <a:r>
              <a:rPr lang="en-US"/>
              <a:t>, Black)</a:t>
            </a:r>
          </a:p>
        </p:txBody>
      </p:sp>
    </p:spTree>
    <p:extLst>
      <p:ext uri="{BB962C8B-B14F-4D97-AF65-F5344CB8AC3E}">
        <p14:creationId xmlns:p14="http://schemas.microsoft.com/office/powerpoint/2010/main" val="82665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042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82588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358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426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7286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01103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4929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18136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9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53" Type="http://schemas.openxmlformats.org/officeDocument/2006/relationships/slideLayout" Target="../slideLayouts/slideLayout54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tags" Target="../tags/tag1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9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89.xml"/><Relationship Id="rId34" Type="http://schemas.openxmlformats.org/officeDocument/2006/relationships/slideLayout" Target="../slideLayouts/slideLayout102.xml"/><Relationship Id="rId42" Type="http://schemas.openxmlformats.org/officeDocument/2006/relationships/slideLayout" Target="../slideLayouts/slideLayout110.xml"/><Relationship Id="rId47" Type="http://schemas.openxmlformats.org/officeDocument/2006/relationships/slideLayout" Target="../slideLayouts/slideLayout115.xml"/><Relationship Id="rId50" Type="http://schemas.openxmlformats.org/officeDocument/2006/relationships/slideLayout" Target="../slideLayouts/slideLayout118.xml"/><Relationship Id="rId55" Type="http://schemas.openxmlformats.org/officeDocument/2006/relationships/theme" Target="../theme/theme4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slideLayout" Target="../slideLayouts/slideLayout101.xml"/><Relationship Id="rId38" Type="http://schemas.openxmlformats.org/officeDocument/2006/relationships/slideLayout" Target="../slideLayouts/slideLayout106.xml"/><Relationship Id="rId46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09.xml"/><Relationship Id="rId54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slideLayout" Target="../slideLayouts/slideLayout100.xml"/><Relationship Id="rId37" Type="http://schemas.openxmlformats.org/officeDocument/2006/relationships/slideLayout" Target="../slideLayouts/slideLayout105.xml"/><Relationship Id="rId40" Type="http://schemas.openxmlformats.org/officeDocument/2006/relationships/slideLayout" Target="../slideLayouts/slideLayout108.xml"/><Relationship Id="rId45" Type="http://schemas.openxmlformats.org/officeDocument/2006/relationships/slideLayout" Target="../slideLayouts/slideLayout113.xml"/><Relationship Id="rId53" Type="http://schemas.openxmlformats.org/officeDocument/2006/relationships/slideLayout" Target="../slideLayouts/slideLayout121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36" Type="http://schemas.openxmlformats.org/officeDocument/2006/relationships/slideLayout" Target="../slideLayouts/slideLayout104.xml"/><Relationship Id="rId49" Type="http://schemas.openxmlformats.org/officeDocument/2006/relationships/slideLayout" Target="../slideLayouts/slideLayout117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slideLayout" Target="../slideLayouts/slideLayout99.xml"/><Relationship Id="rId44" Type="http://schemas.openxmlformats.org/officeDocument/2006/relationships/slideLayout" Target="../slideLayouts/slideLayout112.xml"/><Relationship Id="rId52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slideLayout" Target="../slideLayouts/slideLayout98.xml"/><Relationship Id="rId35" Type="http://schemas.openxmlformats.org/officeDocument/2006/relationships/slideLayout" Target="../slideLayouts/slideLayout103.xml"/><Relationship Id="rId43" Type="http://schemas.openxmlformats.org/officeDocument/2006/relationships/slideLayout" Target="../slideLayouts/slideLayout111.xml"/><Relationship Id="rId48" Type="http://schemas.openxmlformats.org/officeDocument/2006/relationships/slideLayout" Target="../slideLayouts/slideLayout116.xml"/><Relationship Id="rId56" Type="http://schemas.openxmlformats.org/officeDocument/2006/relationships/tags" Target="../tags/tag56.xml"/><Relationship Id="rId8" Type="http://schemas.openxmlformats.org/officeDocument/2006/relationships/slideLayout" Target="../slideLayouts/slideLayout76.xml"/><Relationship Id="rId51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8.xml"/><Relationship Id="rId117" Type="http://schemas.openxmlformats.org/officeDocument/2006/relationships/slideLayout" Target="../slideLayouts/slideLayout239.xml"/><Relationship Id="rId21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64.xml"/><Relationship Id="rId47" Type="http://schemas.openxmlformats.org/officeDocument/2006/relationships/slideLayout" Target="../slideLayouts/slideLayout169.xml"/><Relationship Id="rId63" Type="http://schemas.openxmlformats.org/officeDocument/2006/relationships/slideLayout" Target="../slideLayouts/slideLayout185.xml"/><Relationship Id="rId68" Type="http://schemas.openxmlformats.org/officeDocument/2006/relationships/slideLayout" Target="../slideLayouts/slideLayout190.xml"/><Relationship Id="rId84" Type="http://schemas.openxmlformats.org/officeDocument/2006/relationships/slideLayout" Target="../slideLayouts/slideLayout206.xml"/><Relationship Id="rId89" Type="http://schemas.openxmlformats.org/officeDocument/2006/relationships/slideLayout" Target="../slideLayouts/slideLayout211.xml"/><Relationship Id="rId112" Type="http://schemas.openxmlformats.org/officeDocument/2006/relationships/slideLayout" Target="../slideLayouts/slideLayout234.xml"/><Relationship Id="rId133" Type="http://schemas.openxmlformats.org/officeDocument/2006/relationships/slideLayout" Target="../slideLayouts/slideLayout255.xml"/><Relationship Id="rId138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53" Type="http://schemas.openxmlformats.org/officeDocument/2006/relationships/slideLayout" Target="../slideLayouts/slideLayout175.xml"/><Relationship Id="rId58" Type="http://schemas.openxmlformats.org/officeDocument/2006/relationships/slideLayout" Target="../slideLayouts/slideLayout180.xml"/><Relationship Id="rId74" Type="http://schemas.openxmlformats.org/officeDocument/2006/relationships/slideLayout" Target="../slideLayouts/slideLayout196.xml"/><Relationship Id="rId79" Type="http://schemas.openxmlformats.org/officeDocument/2006/relationships/slideLayout" Target="../slideLayouts/slideLayout201.xml"/><Relationship Id="rId102" Type="http://schemas.openxmlformats.org/officeDocument/2006/relationships/slideLayout" Target="../slideLayouts/slideLayout224.xml"/><Relationship Id="rId123" Type="http://schemas.openxmlformats.org/officeDocument/2006/relationships/slideLayout" Target="../slideLayouts/slideLayout245.xml"/><Relationship Id="rId128" Type="http://schemas.openxmlformats.org/officeDocument/2006/relationships/slideLayout" Target="../slideLayouts/slideLayout250.xml"/><Relationship Id="rId144" Type="http://schemas.openxmlformats.org/officeDocument/2006/relationships/tags" Target="../tags/tag111.xml"/><Relationship Id="rId5" Type="http://schemas.openxmlformats.org/officeDocument/2006/relationships/slideLayout" Target="../slideLayouts/slideLayout127.xml"/><Relationship Id="rId90" Type="http://schemas.openxmlformats.org/officeDocument/2006/relationships/slideLayout" Target="../slideLayouts/slideLayout212.xml"/><Relationship Id="rId95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43" Type="http://schemas.openxmlformats.org/officeDocument/2006/relationships/slideLayout" Target="../slideLayouts/slideLayout165.xml"/><Relationship Id="rId48" Type="http://schemas.openxmlformats.org/officeDocument/2006/relationships/slideLayout" Target="../slideLayouts/slideLayout170.xml"/><Relationship Id="rId64" Type="http://schemas.openxmlformats.org/officeDocument/2006/relationships/slideLayout" Target="../slideLayouts/slideLayout186.xml"/><Relationship Id="rId69" Type="http://schemas.openxmlformats.org/officeDocument/2006/relationships/slideLayout" Target="../slideLayouts/slideLayout191.xml"/><Relationship Id="rId113" Type="http://schemas.openxmlformats.org/officeDocument/2006/relationships/slideLayout" Target="../slideLayouts/slideLayout235.xml"/><Relationship Id="rId118" Type="http://schemas.openxmlformats.org/officeDocument/2006/relationships/slideLayout" Target="../slideLayouts/slideLayout240.xml"/><Relationship Id="rId134" Type="http://schemas.openxmlformats.org/officeDocument/2006/relationships/slideLayout" Target="../slideLayouts/slideLayout256.xml"/><Relationship Id="rId139" Type="http://schemas.openxmlformats.org/officeDocument/2006/relationships/slideLayout" Target="../slideLayouts/slideLayout261.xml"/><Relationship Id="rId80" Type="http://schemas.openxmlformats.org/officeDocument/2006/relationships/slideLayout" Target="../slideLayouts/slideLayout202.xml"/><Relationship Id="rId85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slideLayout" Target="../slideLayouts/slideLayout160.xml"/><Relationship Id="rId46" Type="http://schemas.openxmlformats.org/officeDocument/2006/relationships/slideLayout" Target="../slideLayouts/slideLayout168.xml"/><Relationship Id="rId59" Type="http://schemas.openxmlformats.org/officeDocument/2006/relationships/slideLayout" Target="../slideLayouts/slideLayout181.xml"/><Relationship Id="rId67" Type="http://schemas.openxmlformats.org/officeDocument/2006/relationships/slideLayout" Target="../slideLayouts/slideLayout189.xml"/><Relationship Id="rId103" Type="http://schemas.openxmlformats.org/officeDocument/2006/relationships/slideLayout" Target="../slideLayouts/slideLayout225.xml"/><Relationship Id="rId108" Type="http://schemas.openxmlformats.org/officeDocument/2006/relationships/slideLayout" Target="../slideLayouts/slideLayout230.xml"/><Relationship Id="rId116" Type="http://schemas.openxmlformats.org/officeDocument/2006/relationships/slideLayout" Target="../slideLayouts/slideLayout238.xml"/><Relationship Id="rId124" Type="http://schemas.openxmlformats.org/officeDocument/2006/relationships/slideLayout" Target="../slideLayouts/slideLayout246.xml"/><Relationship Id="rId129" Type="http://schemas.openxmlformats.org/officeDocument/2006/relationships/slideLayout" Target="../slideLayouts/slideLayout251.xml"/><Relationship Id="rId137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142.xml"/><Relationship Id="rId41" Type="http://schemas.openxmlformats.org/officeDocument/2006/relationships/slideLayout" Target="../slideLayouts/slideLayout163.xml"/><Relationship Id="rId54" Type="http://schemas.openxmlformats.org/officeDocument/2006/relationships/slideLayout" Target="../slideLayouts/slideLayout176.xml"/><Relationship Id="rId62" Type="http://schemas.openxmlformats.org/officeDocument/2006/relationships/slideLayout" Target="../slideLayouts/slideLayout184.xml"/><Relationship Id="rId70" Type="http://schemas.openxmlformats.org/officeDocument/2006/relationships/slideLayout" Target="../slideLayouts/slideLayout192.xml"/><Relationship Id="rId75" Type="http://schemas.openxmlformats.org/officeDocument/2006/relationships/slideLayout" Target="../slideLayouts/slideLayout197.xml"/><Relationship Id="rId83" Type="http://schemas.openxmlformats.org/officeDocument/2006/relationships/slideLayout" Target="../slideLayouts/slideLayout205.xml"/><Relationship Id="rId88" Type="http://schemas.openxmlformats.org/officeDocument/2006/relationships/slideLayout" Target="../slideLayouts/slideLayout210.xml"/><Relationship Id="rId91" Type="http://schemas.openxmlformats.org/officeDocument/2006/relationships/slideLayout" Target="../slideLayouts/slideLayout213.xml"/><Relationship Id="rId96" Type="http://schemas.openxmlformats.org/officeDocument/2006/relationships/slideLayout" Target="../slideLayouts/slideLayout218.xml"/><Relationship Id="rId111" Type="http://schemas.openxmlformats.org/officeDocument/2006/relationships/slideLayout" Target="../slideLayouts/slideLayout233.xml"/><Relationship Id="rId132" Type="http://schemas.openxmlformats.org/officeDocument/2006/relationships/slideLayout" Target="../slideLayouts/slideLayout254.xml"/><Relationship Id="rId140" Type="http://schemas.openxmlformats.org/officeDocument/2006/relationships/slideLayout" Target="../slideLayouts/slideLayout262.xml"/><Relationship Id="rId145" Type="http://schemas.openxmlformats.org/officeDocument/2006/relationships/oleObject" Target="../embeddings/oleObject3.bin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49" Type="http://schemas.openxmlformats.org/officeDocument/2006/relationships/slideLayout" Target="../slideLayouts/slideLayout171.xml"/><Relationship Id="rId57" Type="http://schemas.openxmlformats.org/officeDocument/2006/relationships/slideLayout" Target="../slideLayouts/slideLayout179.xml"/><Relationship Id="rId106" Type="http://schemas.openxmlformats.org/officeDocument/2006/relationships/slideLayout" Target="../slideLayouts/slideLayout228.xml"/><Relationship Id="rId114" Type="http://schemas.openxmlformats.org/officeDocument/2006/relationships/slideLayout" Target="../slideLayouts/slideLayout236.xml"/><Relationship Id="rId119" Type="http://schemas.openxmlformats.org/officeDocument/2006/relationships/slideLayout" Target="../slideLayouts/slideLayout241.xml"/><Relationship Id="rId127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66.xml"/><Relationship Id="rId52" Type="http://schemas.openxmlformats.org/officeDocument/2006/relationships/slideLayout" Target="../slideLayouts/slideLayout174.xml"/><Relationship Id="rId60" Type="http://schemas.openxmlformats.org/officeDocument/2006/relationships/slideLayout" Target="../slideLayouts/slideLayout182.xml"/><Relationship Id="rId65" Type="http://schemas.openxmlformats.org/officeDocument/2006/relationships/slideLayout" Target="../slideLayouts/slideLayout187.xml"/><Relationship Id="rId73" Type="http://schemas.openxmlformats.org/officeDocument/2006/relationships/slideLayout" Target="../slideLayouts/slideLayout195.xml"/><Relationship Id="rId78" Type="http://schemas.openxmlformats.org/officeDocument/2006/relationships/slideLayout" Target="../slideLayouts/slideLayout200.xml"/><Relationship Id="rId81" Type="http://schemas.openxmlformats.org/officeDocument/2006/relationships/slideLayout" Target="../slideLayouts/slideLayout203.xml"/><Relationship Id="rId86" Type="http://schemas.openxmlformats.org/officeDocument/2006/relationships/slideLayout" Target="../slideLayouts/slideLayout208.xml"/><Relationship Id="rId94" Type="http://schemas.openxmlformats.org/officeDocument/2006/relationships/slideLayout" Target="../slideLayouts/slideLayout216.xml"/><Relationship Id="rId99" Type="http://schemas.openxmlformats.org/officeDocument/2006/relationships/slideLayout" Target="../slideLayouts/slideLayout221.xml"/><Relationship Id="rId101" Type="http://schemas.openxmlformats.org/officeDocument/2006/relationships/slideLayout" Target="../slideLayouts/slideLayout223.xml"/><Relationship Id="rId122" Type="http://schemas.openxmlformats.org/officeDocument/2006/relationships/slideLayout" Target="../slideLayouts/slideLayout244.xml"/><Relationship Id="rId130" Type="http://schemas.openxmlformats.org/officeDocument/2006/relationships/slideLayout" Target="../slideLayouts/slideLayout252.xml"/><Relationship Id="rId135" Type="http://schemas.openxmlformats.org/officeDocument/2006/relationships/slideLayout" Target="../slideLayouts/slideLayout257.xml"/><Relationship Id="rId143" Type="http://schemas.openxmlformats.org/officeDocument/2006/relationships/theme" Target="../theme/theme5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61.xml"/><Relationship Id="rId109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72.xml"/><Relationship Id="rId55" Type="http://schemas.openxmlformats.org/officeDocument/2006/relationships/slideLayout" Target="../slideLayouts/slideLayout177.xml"/><Relationship Id="rId76" Type="http://schemas.openxmlformats.org/officeDocument/2006/relationships/slideLayout" Target="../slideLayouts/slideLayout198.xml"/><Relationship Id="rId97" Type="http://schemas.openxmlformats.org/officeDocument/2006/relationships/slideLayout" Target="../slideLayouts/slideLayout219.xml"/><Relationship Id="rId104" Type="http://schemas.openxmlformats.org/officeDocument/2006/relationships/slideLayout" Target="../slideLayouts/slideLayout226.xml"/><Relationship Id="rId120" Type="http://schemas.openxmlformats.org/officeDocument/2006/relationships/slideLayout" Target="../slideLayouts/slideLayout242.xml"/><Relationship Id="rId125" Type="http://schemas.openxmlformats.org/officeDocument/2006/relationships/slideLayout" Target="../slideLayouts/slideLayout247.xml"/><Relationship Id="rId141" Type="http://schemas.openxmlformats.org/officeDocument/2006/relationships/slideLayout" Target="../slideLayouts/slideLayout263.xml"/><Relationship Id="rId146" Type="http://schemas.openxmlformats.org/officeDocument/2006/relationships/image" Target="../media/image1.emf"/><Relationship Id="rId7" Type="http://schemas.openxmlformats.org/officeDocument/2006/relationships/slideLayout" Target="../slideLayouts/slideLayout129.xml"/><Relationship Id="rId71" Type="http://schemas.openxmlformats.org/officeDocument/2006/relationships/slideLayout" Target="../slideLayouts/slideLayout193.xml"/><Relationship Id="rId92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62.xml"/><Relationship Id="rId45" Type="http://schemas.openxmlformats.org/officeDocument/2006/relationships/slideLayout" Target="../slideLayouts/slideLayout167.xml"/><Relationship Id="rId66" Type="http://schemas.openxmlformats.org/officeDocument/2006/relationships/slideLayout" Target="../slideLayouts/slideLayout188.xml"/><Relationship Id="rId87" Type="http://schemas.openxmlformats.org/officeDocument/2006/relationships/slideLayout" Target="../slideLayouts/slideLayout209.xml"/><Relationship Id="rId110" Type="http://schemas.openxmlformats.org/officeDocument/2006/relationships/slideLayout" Target="../slideLayouts/slideLayout232.xml"/><Relationship Id="rId115" Type="http://schemas.openxmlformats.org/officeDocument/2006/relationships/slideLayout" Target="../slideLayouts/slideLayout237.xml"/><Relationship Id="rId131" Type="http://schemas.openxmlformats.org/officeDocument/2006/relationships/slideLayout" Target="../slideLayouts/slideLayout253.xml"/><Relationship Id="rId136" Type="http://schemas.openxmlformats.org/officeDocument/2006/relationships/slideLayout" Target="../slideLayouts/slideLayout258.xml"/><Relationship Id="rId61" Type="http://schemas.openxmlformats.org/officeDocument/2006/relationships/slideLayout" Target="../slideLayouts/slideLayout183.xml"/><Relationship Id="rId82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56" Type="http://schemas.openxmlformats.org/officeDocument/2006/relationships/slideLayout" Target="../slideLayouts/slideLayout178.xml"/><Relationship Id="rId77" Type="http://schemas.openxmlformats.org/officeDocument/2006/relationships/slideLayout" Target="../slideLayouts/slideLayout199.xml"/><Relationship Id="rId100" Type="http://schemas.openxmlformats.org/officeDocument/2006/relationships/slideLayout" Target="../slideLayouts/slideLayout222.xml"/><Relationship Id="rId105" Type="http://schemas.openxmlformats.org/officeDocument/2006/relationships/slideLayout" Target="../slideLayouts/slideLayout227.xml"/><Relationship Id="rId126" Type="http://schemas.openxmlformats.org/officeDocument/2006/relationships/slideLayout" Target="../slideLayouts/slideLayout248.xml"/><Relationship Id="rId8" Type="http://schemas.openxmlformats.org/officeDocument/2006/relationships/slideLayout" Target="../slideLayouts/slideLayout130.xml"/><Relationship Id="rId51" Type="http://schemas.openxmlformats.org/officeDocument/2006/relationships/slideLayout" Target="../slideLayouts/slideLayout173.xml"/><Relationship Id="rId72" Type="http://schemas.openxmlformats.org/officeDocument/2006/relationships/slideLayout" Target="../slideLayouts/slideLayout194.xml"/><Relationship Id="rId93" Type="http://schemas.openxmlformats.org/officeDocument/2006/relationships/slideLayout" Target="../slideLayouts/slideLayout215.xml"/><Relationship Id="rId98" Type="http://schemas.openxmlformats.org/officeDocument/2006/relationships/slideLayout" Target="../slideLayouts/slideLayout220.xml"/><Relationship Id="rId121" Type="http://schemas.openxmlformats.org/officeDocument/2006/relationships/slideLayout" Target="../slideLayouts/slideLayout243.xml"/><Relationship Id="rId142" Type="http://schemas.openxmlformats.org/officeDocument/2006/relationships/slideLayout" Target="../slideLayouts/slideLayout2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6956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12700" imgH="12700" progId="TCLayout.ActiveDocument.1">
                  <p:embed/>
                </p:oleObj>
              </mc:Choice>
              <mc:Fallback>
                <p:oleObj name="think-cell Slide" r:id="rId58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32373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en-US" sz="600">
              <a:solidFill>
                <a:srgbClr val="59452A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49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499147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80" indent="-17272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175" indent="-16573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7374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hf sldNum="0" hdr="0" ftr="0" dt="0"/>
  <p:txStyles>
    <p:titleStyle>
      <a:lvl1pPr algn="ctr" defTabSz="761970" rtl="0" eaLnBrk="1" latinLnBrk="0" hangingPunct="1"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39" indent="-285739" algn="l" defTabSz="7619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19100" indent="-238115" algn="l" defTabSz="761970" rtl="0" eaLnBrk="1" latinLnBrk="0" hangingPunct="1">
        <a:spcBef>
          <a:spcPct val="20000"/>
        </a:spcBef>
        <a:buFont typeface="Arial" pitchFamily="34" charset="0"/>
        <a:buChar char="–"/>
        <a:defRPr sz="2333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spcBef>
          <a:spcPct val="20000"/>
        </a:spcBef>
        <a:buFont typeface="Arial" pitchFamily="34" charset="0"/>
        <a:buChar char="–"/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spcBef>
          <a:spcPct val="20000"/>
        </a:spcBef>
        <a:buFont typeface="Arial" pitchFamily="34" charset="0"/>
        <a:buChar char="»"/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249501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32373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latin typeface="+mj-lt"/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4188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0" r:id="rId38"/>
    <p:sldLayoutId id="2147483771" r:id="rId39"/>
    <p:sldLayoutId id="2147483772" r:id="rId40"/>
    <p:sldLayoutId id="2147483773" r:id="rId41"/>
    <p:sldLayoutId id="2147483774" r:id="rId42"/>
    <p:sldLayoutId id="2147483775" r:id="rId43"/>
    <p:sldLayoutId id="2147483776" r:id="rId44"/>
    <p:sldLayoutId id="2147483777" r:id="rId45"/>
    <p:sldLayoutId id="2147483778" r:id="rId46"/>
    <p:sldLayoutId id="2147483779" r:id="rId47"/>
    <p:sldLayoutId id="2147483780" r:id="rId48"/>
    <p:sldLayoutId id="2147483781" r:id="rId49"/>
    <p:sldLayoutId id="2147483782" r:id="rId50"/>
    <p:sldLayoutId id="2147483783" r:id="rId51"/>
    <p:sldLayoutId id="2147483784" r:id="rId52"/>
    <p:sldLayoutId id="2147483785" r:id="rId53"/>
    <p:sldLayoutId id="2147483786" r:id="rId5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5" imgW="12700" imgH="12700" progId="TCLayout.ActiveDocument.1">
                  <p:embed/>
                </p:oleObj>
              </mc:Choice>
              <mc:Fallback>
                <p:oleObj name="think-cell Slide" r:id="rId145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7210" y="1962967"/>
            <a:ext cx="11117580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01347" y="6577228"/>
            <a:ext cx="253444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defTabSz="1219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700" b="0" i="0" u="none" strike="noStrike" cap="none" spc="0" normalizeH="0" baseline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600" defTabSz="1219200">
              <a:defRPr sz="2400"/>
            </a:lvl2pPr>
            <a:lvl3pPr marL="1219200" defTabSz="1219200">
              <a:defRPr sz="2400"/>
            </a:lvl3pPr>
            <a:lvl4pPr marL="1828165" defTabSz="1219200">
              <a:defRPr sz="2400"/>
            </a:lvl4pPr>
            <a:lvl5pPr marL="2437765" defTabSz="1219200">
              <a:defRPr sz="2400"/>
            </a:lvl5pPr>
            <a:lvl6pPr marL="3047365" defTabSz="1219200">
              <a:defRPr sz="2400"/>
            </a:lvl6pPr>
            <a:lvl7pPr marL="3656965" defTabSz="1219200">
              <a:defRPr sz="2400"/>
            </a:lvl7pPr>
            <a:lvl8pPr marL="4266565" defTabSz="1219200">
              <a:defRPr sz="2400"/>
            </a:lvl8pPr>
            <a:lvl9pPr marL="4876165" defTabSz="1219200">
              <a:defRPr sz="2400"/>
            </a:lvl9pPr>
          </a:lstStyle>
          <a:p>
            <a:pPr lvl="0"/>
            <a:fld id="{DFCF27A5-1A5B-48D3-A060-2758FFBB1ADD}" type="slidenum">
              <a:rPr lang="en-US" smtClean="0">
                <a:sym typeface="Trebuchet MS" panose="020B0603020202020204" pitchFamily="34" charset="0"/>
              </a:rPr>
              <a:t>‹#›</a:t>
            </a:fld>
            <a:endParaRPr lang="en-US">
              <a:sym typeface="Trebuchet MS" panose="020B0603020202020204" pitchFamily="34" charset="0"/>
            </a:endParaRPr>
          </a:p>
        </p:txBody>
      </p:sp>
      <p:sp>
        <p:nvSpPr>
          <p:cNvPr id="15" name="TextBox 5"/>
          <p:cNvSpPr txBox="1"/>
          <p:nvPr userDrawn="1"/>
        </p:nvSpPr>
        <p:spPr>
          <a:xfrm>
            <a:off x="9933766" y="6577228"/>
            <a:ext cx="1371957" cy="10772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sz="700" spc="2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1219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00" b="0" i="0" u="none" strike="noStrike" kern="0" cap="none" spc="20" normalizeH="0" baseline="0" noProof="0">
                <a:ln>
                  <a:noFill/>
                </a:ln>
                <a:solidFill>
                  <a:srgbClr val="303A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©Gates Foundation</a:t>
            </a:r>
          </a:p>
        </p:txBody>
      </p:sp>
      <p:cxnSp>
        <p:nvCxnSpPr>
          <p:cNvPr id="16" name="Straight Connector 7"/>
          <p:cNvCxnSpPr/>
          <p:nvPr userDrawn="1"/>
        </p:nvCxnSpPr>
        <p:spPr>
          <a:xfrm>
            <a:off x="537210" y="6465243"/>
            <a:ext cx="11117580" cy="0"/>
          </a:xfrm>
          <a:prstGeom prst="line">
            <a:avLst/>
          </a:prstGeom>
          <a:noFill/>
          <a:ln w="9525" cap="flat" cmpd="sng" algn="ctr">
            <a:solidFill>
              <a:srgbClr val="E7C700"/>
            </a:solidFill>
            <a:prstDash val="solid"/>
          </a:ln>
          <a:effectLst/>
        </p:spPr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37210" y="535517"/>
            <a:ext cx="1111758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7612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  <p:sldLayoutId id="2147483809" r:id="rId22"/>
    <p:sldLayoutId id="2147483810" r:id="rId23"/>
    <p:sldLayoutId id="2147483811" r:id="rId24"/>
    <p:sldLayoutId id="2147483812" r:id="rId25"/>
    <p:sldLayoutId id="2147483813" r:id="rId26"/>
    <p:sldLayoutId id="2147483814" r:id="rId27"/>
    <p:sldLayoutId id="2147483815" r:id="rId28"/>
    <p:sldLayoutId id="2147483816" r:id="rId29"/>
    <p:sldLayoutId id="2147483817" r:id="rId30"/>
    <p:sldLayoutId id="2147483818" r:id="rId31"/>
    <p:sldLayoutId id="2147483819" r:id="rId32"/>
    <p:sldLayoutId id="2147483820" r:id="rId33"/>
    <p:sldLayoutId id="2147483821" r:id="rId34"/>
    <p:sldLayoutId id="2147483822" r:id="rId35"/>
    <p:sldLayoutId id="2147483823" r:id="rId36"/>
    <p:sldLayoutId id="2147483824" r:id="rId37"/>
    <p:sldLayoutId id="2147483825" r:id="rId38"/>
    <p:sldLayoutId id="2147483826" r:id="rId39"/>
    <p:sldLayoutId id="2147483827" r:id="rId40"/>
    <p:sldLayoutId id="2147483828" r:id="rId41"/>
    <p:sldLayoutId id="2147483829" r:id="rId42"/>
    <p:sldLayoutId id="2147483830" r:id="rId43"/>
    <p:sldLayoutId id="2147483831" r:id="rId44"/>
    <p:sldLayoutId id="2147483832" r:id="rId45"/>
    <p:sldLayoutId id="2147483833" r:id="rId46"/>
    <p:sldLayoutId id="2147483834" r:id="rId47"/>
    <p:sldLayoutId id="2147483835" r:id="rId48"/>
    <p:sldLayoutId id="2147483836" r:id="rId49"/>
    <p:sldLayoutId id="2147483837" r:id="rId50"/>
    <p:sldLayoutId id="2147483838" r:id="rId51"/>
    <p:sldLayoutId id="2147483839" r:id="rId52"/>
    <p:sldLayoutId id="2147483840" r:id="rId53"/>
    <p:sldLayoutId id="2147483841" r:id="rId54"/>
    <p:sldLayoutId id="2147483842" r:id="rId55"/>
    <p:sldLayoutId id="2147483843" r:id="rId56"/>
    <p:sldLayoutId id="2147483844" r:id="rId57"/>
    <p:sldLayoutId id="2147483845" r:id="rId58"/>
    <p:sldLayoutId id="2147483846" r:id="rId59"/>
    <p:sldLayoutId id="2147483847" r:id="rId60"/>
    <p:sldLayoutId id="2147483848" r:id="rId61"/>
    <p:sldLayoutId id="2147483849" r:id="rId62"/>
    <p:sldLayoutId id="2147483850" r:id="rId63"/>
    <p:sldLayoutId id="2147483851" r:id="rId64"/>
    <p:sldLayoutId id="2147483852" r:id="rId65"/>
    <p:sldLayoutId id="2147483853" r:id="rId66"/>
    <p:sldLayoutId id="2147483854" r:id="rId67"/>
    <p:sldLayoutId id="2147483855" r:id="rId68"/>
    <p:sldLayoutId id="2147483856" r:id="rId69"/>
    <p:sldLayoutId id="2147483857" r:id="rId70"/>
    <p:sldLayoutId id="2147483858" r:id="rId71"/>
    <p:sldLayoutId id="2147483859" r:id="rId72"/>
    <p:sldLayoutId id="2147483860" r:id="rId73"/>
    <p:sldLayoutId id="2147483861" r:id="rId74"/>
    <p:sldLayoutId id="2147483862" r:id="rId75"/>
    <p:sldLayoutId id="2147483863" r:id="rId76"/>
    <p:sldLayoutId id="2147483864" r:id="rId77"/>
    <p:sldLayoutId id="2147483865" r:id="rId78"/>
    <p:sldLayoutId id="2147483866" r:id="rId79"/>
    <p:sldLayoutId id="2147483867" r:id="rId80"/>
    <p:sldLayoutId id="2147483868" r:id="rId81"/>
    <p:sldLayoutId id="2147483869" r:id="rId82"/>
    <p:sldLayoutId id="2147483870" r:id="rId83"/>
    <p:sldLayoutId id="2147483871" r:id="rId84"/>
    <p:sldLayoutId id="2147483872" r:id="rId85"/>
    <p:sldLayoutId id="2147483873" r:id="rId86"/>
    <p:sldLayoutId id="2147483874" r:id="rId87"/>
    <p:sldLayoutId id="2147483875" r:id="rId88"/>
    <p:sldLayoutId id="2147483876" r:id="rId89"/>
    <p:sldLayoutId id="2147483877" r:id="rId90"/>
    <p:sldLayoutId id="2147483878" r:id="rId91"/>
    <p:sldLayoutId id="2147483879" r:id="rId92"/>
    <p:sldLayoutId id="2147483880" r:id="rId93"/>
    <p:sldLayoutId id="2147483881" r:id="rId94"/>
    <p:sldLayoutId id="2147483882" r:id="rId95"/>
    <p:sldLayoutId id="2147483883" r:id="rId96"/>
    <p:sldLayoutId id="2147483884" r:id="rId97"/>
    <p:sldLayoutId id="2147483885" r:id="rId98"/>
    <p:sldLayoutId id="2147483886" r:id="rId99"/>
    <p:sldLayoutId id="2147483887" r:id="rId100"/>
    <p:sldLayoutId id="2147483888" r:id="rId101"/>
    <p:sldLayoutId id="2147483889" r:id="rId102"/>
    <p:sldLayoutId id="2147483890" r:id="rId103"/>
    <p:sldLayoutId id="2147483891" r:id="rId104"/>
    <p:sldLayoutId id="2147483892" r:id="rId105"/>
    <p:sldLayoutId id="2147483893" r:id="rId106"/>
    <p:sldLayoutId id="2147483894" r:id="rId107"/>
    <p:sldLayoutId id="2147483895" r:id="rId108"/>
    <p:sldLayoutId id="2147483896" r:id="rId109"/>
    <p:sldLayoutId id="2147483897" r:id="rId110"/>
    <p:sldLayoutId id="2147483898" r:id="rId111"/>
    <p:sldLayoutId id="2147483899" r:id="rId112"/>
    <p:sldLayoutId id="2147483900" r:id="rId113"/>
    <p:sldLayoutId id="2147483901" r:id="rId114"/>
    <p:sldLayoutId id="2147483902" r:id="rId115"/>
    <p:sldLayoutId id="2147483903" r:id="rId116"/>
    <p:sldLayoutId id="2147483904" r:id="rId117"/>
    <p:sldLayoutId id="2147483905" r:id="rId118"/>
    <p:sldLayoutId id="2147483906" r:id="rId119"/>
    <p:sldLayoutId id="2147483907" r:id="rId120"/>
    <p:sldLayoutId id="2147483908" r:id="rId121"/>
    <p:sldLayoutId id="2147483909" r:id="rId122"/>
    <p:sldLayoutId id="2147483910" r:id="rId123"/>
    <p:sldLayoutId id="2147483911" r:id="rId124"/>
    <p:sldLayoutId id="2147483912" r:id="rId125"/>
    <p:sldLayoutId id="2147483913" r:id="rId126"/>
    <p:sldLayoutId id="2147483914" r:id="rId127"/>
    <p:sldLayoutId id="2147483915" r:id="rId128"/>
    <p:sldLayoutId id="2147483916" r:id="rId129"/>
    <p:sldLayoutId id="2147483917" r:id="rId130"/>
    <p:sldLayoutId id="2147483918" r:id="rId131"/>
    <p:sldLayoutId id="2147483919" r:id="rId132"/>
    <p:sldLayoutId id="2147483920" r:id="rId133"/>
    <p:sldLayoutId id="2147483921" r:id="rId134"/>
    <p:sldLayoutId id="2147483922" r:id="rId135"/>
    <p:sldLayoutId id="2147483923" r:id="rId136"/>
    <p:sldLayoutId id="2147483924" r:id="rId137"/>
    <p:sldLayoutId id="2147483925" r:id="rId138"/>
    <p:sldLayoutId id="2147483926" r:id="rId139"/>
    <p:sldLayoutId id="2147483927" r:id="rId140"/>
    <p:sldLayoutId id="2147483928" r:id="rId141"/>
    <p:sldLayoutId id="2147483929" r:id="rId14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0" i="0" u="none" strike="noStrike" kern="1200" cap="none" spc="0" normalizeH="0" baseline="0" dirty="0">
          <a:ln>
            <a:noFill/>
          </a:ln>
          <a:solidFill>
            <a:srgbClr val="303A44"/>
          </a:solidFill>
          <a:effectLst/>
          <a:uLnTx/>
          <a:uFillTx/>
          <a:latin typeface="Cambria" panose="02040503050406030204"/>
          <a:ea typeface="Cambria" panose="02040503050406030204" pitchFamily="18" charset="0"/>
          <a:cs typeface="Calibri" panose="020F0502020204030204" pitchFamily="34" charset="0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313A44"/>
        </a:buClr>
        <a:buFont typeface="Arial" panose="020B0604020202020204" pitchFamily="34" charset="0"/>
        <a:buChar char="​"/>
        <a:defRPr lang="en-US" sz="1200" kern="120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80" indent="-17272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313A44"/>
        </a:buClr>
        <a:buFont typeface="Arial" panose="020B0604020202020204" pitchFamily="34" charset="0"/>
        <a:buChar char="•"/>
        <a:defRPr lang="en-US" sz="1200" kern="120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73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313A44"/>
        </a:buClr>
        <a:buFont typeface="Trebuchet MS" panose="020B0603020202020204" pitchFamily="34" charset="0"/>
        <a:buChar char="–"/>
        <a:defRPr lang="en-US" sz="1200" kern="120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313A44"/>
        </a:buClr>
        <a:buFont typeface="Arial" panose="020B0604020202020204" pitchFamily="34" charset="0"/>
        <a:buChar char="​"/>
        <a:defRPr lang="en-US" sz="1600" kern="120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313A44"/>
        </a:buClr>
        <a:buFont typeface="Arial" panose="020B0604020202020204" pitchFamily="34" charset="0"/>
        <a:buChar char="​"/>
        <a:defRPr lang="en-US" sz="1600" b="1" kern="1200" smtClean="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313A44"/>
        </a:buClr>
        <a:buFont typeface="Arial" panose="020B0604020202020204" pitchFamily="34" charset="0"/>
        <a:buChar char="•"/>
        <a:defRPr lang="en-US" sz="1600" kern="1200" smtClean="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313A44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313A44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313A44"/>
        </a:buClr>
        <a:buFont typeface="Arial" panose="020B0604020202020204" pitchFamily="34" charset="0"/>
        <a:buChar char="​"/>
        <a:defRPr lang="en-US" sz="2400" kern="1200" baseline="0" dirty="0">
          <a:solidFill>
            <a:srgbClr val="313A44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4" Type="http://schemas.openxmlformats.org/officeDocument/2006/relationships/slideLayout" Target="../slideLayouts/slideLayout14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1"/>
          <p:cNvSpPr/>
          <p:nvPr/>
        </p:nvSpPr>
        <p:spPr>
          <a:xfrm>
            <a:off x="455303" y="902757"/>
            <a:ext cx="2946797" cy="62011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761970">
              <a:lnSpc>
                <a:spcPts val="2417"/>
              </a:lnSpc>
            </a:pPr>
            <a:r>
              <a:rPr lang="en-US" b="1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Longitudinal Questionnaire Structure</a:t>
            </a:r>
            <a:endParaRPr 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2"/>
          <p:cNvSpPr/>
          <p:nvPr/>
        </p:nvSpPr>
        <p:spPr>
          <a:xfrm>
            <a:off x="465558" y="1682126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defTabSz="761970">
              <a:lnSpc>
                <a:spcPts val="2083"/>
              </a:lnSpc>
            </a:pPr>
            <a:r>
              <a:rPr lang="en-US" sz="14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Focuses on key variables including:</a:t>
            </a:r>
            <a:endParaRPr lang="en-US" sz="1400" dirty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3"/>
          <p:cNvSpPr/>
          <p:nvPr/>
        </p:nvSpPr>
        <p:spPr>
          <a:xfrm>
            <a:off x="455303" y="2101617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Household ID &amp; KPMD participation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4"/>
          <p:cNvSpPr/>
          <p:nvPr/>
        </p:nvSpPr>
        <p:spPr>
          <a:xfrm>
            <a:off x="455303" y="2424078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Productivity &amp; animal health metrics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5"/>
          <p:cNvSpPr/>
          <p:nvPr/>
        </p:nvSpPr>
        <p:spPr>
          <a:xfrm>
            <a:off x="455303" y="2746539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Offtake &amp; market access indicators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6"/>
          <p:cNvSpPr/>
          <p:nvPr/>
        </p:nvSpPr>
        <p:spPr>
          <a:xfrm>
            <a:off x="455303" y="3069000"/>
            <a:ext cx="2946797" cy="52923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Gender participation &amp; decision-making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7"/>
          <p:cNvSpPr/>
          <p:nvPr/>
        </p:nvSpPr>
        <p:spPr>
          <a:xfrm>
            <a:off x="455303" y="3656078"/>
            <a:ext cx="2946797" cy="52923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Credit access &amp; food security measures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8"/>
          <p:cNvSpPr/>
          <p:nvPr/>
        </p:nvSpPr>
        <p:spPr>
          <a:xfrm>
            <a:off x="3811873" y="902757"/>
            <a:ext cx="2480866" cy="31005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defTabSz="761970">
              <a:lnSpc>
                <a:spcPts val="2417"/>
              </a:lnSpc>
            </a:pPr>
            <a:r>
              <a:rPr lang="en-US" b="1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MEL Plan Framing</a:t>
            </a:r>
            <a:endParaRPr 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9"/>
          <p:cNvSpPr/>
          <p:nvPr/>
        </p:nvSpPr>
        <p:spPr>
          <a:xfrm>
            <a:off x="3822128" y="1682126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defTabSz="761970">
              <a:lnSpc>
                <a:spcPts val="2083"/>
              </a:lnSpc>
            </a:pPr>
            <a:r>
              <a:rPr lang="en-US" sz="14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Structured around impact pathways:</a:t>
            </a:r>
            <a:endParaRPr lang="en-US" sz="1400" dirty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10"/>
          <p:cNvSpPr/>
          <p:nvPr/>
        </p:nvSpPr>
        <p:spPr>
          <a:xfrm>
            <a:off x="3919450" y="2048422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Private sector offtake enhancement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11"/>
          <p:cNvSpPr/>
          <p:nvPr/>
        </p:nvSpPr>
        <p:spPr>
          <a:xfrm>
            <a:off x="3919450" y="2427954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Income &amp; livelihood improvements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12"/>
          <p:cNvSpPr/>
          <p:nvPr/>
        </p:nvSpPr>
        <p:spPr>
          <a:xfrm>
            <a:off x="3919450" y="2741182"/>
            <a:ext cx="2946797" cy="529233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Women's participation &amp; empowerment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3"/>
          <p:cNvSpPr/>
          <p:nvPr/>
        </p:nvSpPr>
        <p:spPr>
          <a:xfrm>
            <a:off x="3919450" y="3455277"/>
            <a:ext cx="2946797" cy="2646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285739" indent="-285739" defTabSz="761970">
              <a:lnSpc>
                <a:spcPts val="2083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Food security &amp; resilience building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4410">
            <a:extLst>
              <a:ext uri="{FF2B5EF4-FFF2-40B4-BE49-F238E27FC236}">
                <a16:creationId xmlns:a16="http://schemas.microsoft.com/office/drawing/2014/main" id="{D0104B0E-4D8B-D358-0ADC-EED418DE9B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7168443" y="116780"/>
            <a:ext cx="5038165" cy="674122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F0073A9-B6D2-64B9-7324-177BFD8DB67F}"/>
              </a:ext>
            </a:extLst>
          </p:cNvPr>
          <p:cNvSpPr txBox="1"/>
          <p:nvPr/>
        </p:nvSpPr>
        <p:spPr>
          <a:xfrm>
            <a:off x="7286275" y="1301067"/>
            <a:ext cx="4834008" cy="1060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61970" rtl="0" eaLnBrk="1" fontAlgn="auto" latinLnBrk="0" hangingPunct="1">
              <a:lnSpc>
                <a:spcPts val="404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73B48"/>
                </a:solidFill>
                <a:effectLst/>
                <a:uLnTx/>
                <a:uFillTx/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ashboard Framework: Linking Survey Logic to Impact Pathway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69DB549-0F4B-346B-93BF-725A7A0BF127}"/>
              </a:ext>
            </a:extLst>
          </p:cNvPr>
          <p:cNvSpPr txBox="1"/>
          <p:nvPr/>
        </p:nvSpPr>
        <p:spPr>
          <a:xfrm>
            <a:off x="243840" y="4349789"/>
            <a:ext cx="3362960" cy="43088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N/B We should have a comparative by counties </a:t>
            </a:r>
            <a:r>
              <a:rPr lang="en-US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i.e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 Kajiado, Samburu, Narok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C8A55E-9E74-F0DB-7C66-717BD6337BE1}"/>
              </a:ext>
            </a:extLst>
          </p:cNvPr>
          <p:cNvSpPr txBox="1"/>
          <p:nvPr/>
        </p:nvSpPr>
        <p:spPr>
          <a:xfrm>
            <a:off x="240832" y="5084722"/>
            <a:ext cx="3362960" cy="60016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N/B We should be able to have an outlook that shows  submitted data by  month and comparison 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66CAF5-E544-EAFF-5E51-9F46CD83FB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764627"/>
            <a:ext cx="8909230" cy="53996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33E41C-F7FB-94F9-46F8-1805361FCE8D}"/>
              </a:ext>
            </a:extLst>
          </p:cNvPr>
          <p:cNvSpPr txBox="1"/>
          <p:nvPr/>
        </p:nvSpPr>
        <p:spPr>
          <a:xfrm>
            <a:off x="8805041" y="97993"/>
            <a:ext cx="3034862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3773458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98D57-C8ED-70E1-05A4-A9D547D33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4410">
            <a:extLst>
              <a:ext uri="{FF2B5EF4-FFF2-40B4-BE49-F238E27FC236}">
                <a16:creationId xmlns:a16="http://schemas.microsoft.com/office/drawing/2014/main" id="{37E87050-F4DC-6EDE-2B6E-10132257E5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0" y="-10608"/>
            <a:ext cx="12192000" cy="928591"/>
          </a:xfrm>
          <a:prstGeom prst="rect">
            <a:avLst/>
          </a:prstGeom>
        </p:spPr>
      </p:pic>
      <p:sp>
        <p:nvSpPr>
          <p:cNvPr id="41" name="Text 0">
            <a:extLst>
              <a:ext uri="{FF2B5EF4-FFF2-40B4-BE49-F238E27FC236}">
                <a16:creationId xmlns:a16="http://schemas.microsoft.com/office/drawing/2014/main" id="{3BC4E5AF-5B59-2C9D-A89D-BB4454D0765E}"/>
              </a:ext>
            </a:extLst>
          </p:cNvPr>
          <p:cNvSpPr/>
          <p:nvPr/>
        </p:nvSpPr>
        <p:spPr>
          <a:xfrm>
            <a:off x="484647" y="89046"/>
            <a:ext cx="3818334" cy="43410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3400"/>
              </a:lnSpc>
              <a:buNone/>
            </a:pPr>
            <a:r>
              <a:rPr lang="en-US" sz="3200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1. Pastoral Productivity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 1">
            <a:extLst>
              <a:ext uri="{FF2B5EF4-FFF2-40B4-BE49-F238E27FC236}">
                <a16:creationId xmlns:a16="http://schemas.microsoft.com/office/drawing/2014/main" id="{98401FEE-6CEC-A55F-893A-295B79949FBF}"/>
              </a:ext>
            </a:extLst>
          </p:cNvPr>
          <p:cNvSpPr/>
          <p:nvPr/>
        </p:nvSpPr>
        <p:spPr>
          <a:xfrm>
            <a:off x="109622" y="1035013"/>
            <a:ext cx="9778450" cy="246411"/>
          </a:xfrm>
          <a:prstGeom prst="rect">
            <a:avLst/>
          </a:prstGeom>
          <a:solidFill>
            <a:schemeClr val="bg2">
              <a:lumMod val="75000"/>
            </a:schemeClr>
          </a:solidFill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600" b="1" i="1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Drawn mainly from Section C (SR productivity), Section D (Animal health), and livestock offtake (E).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 2">
            <a:extLst>
              <a:ext uri="{FF2B5EF4-FFF2-40B4-BE49-F238E27FC236}">
                <a16:creationId xmlns:a16="http://schemas.microsoft.com/office/drawing/2014/main" id="{989A06CD-2B91-4B89-D259-D568023AEDCC}"/>
              </a:ext>
            </a:extLst>
          </p:cNvPr>
          <p:cNvSpPr/>
          <p:nvPr/>
        </p:nvSpPr>
        <p:spPr>
          <a:xfrm>
            <a:off x="707295" y="2034553"/>
            <a:ext cx="1797248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Herd Structure &amp; Siz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 3">
            <a:extLst>
              <a:ext uri="{FF2B5EF4-FFF2-40B4-BE49-F238E27FC236}">
                <a16:creationId xmlns:a16="http://schemas.microsoft.com/office/drawing/2014/main" id="{CDEFCCEA-269B-F87A-0D3B-8DD87DCDBB36}"/>
              </a:ext>
            </a:extLst>
          </p:cNvPr>
          <p:cNvSpPr/>
          <p:nvPr/>
        </p:nvSpPr>
        <p:spPr>
          <a:xfrm>
            <a:off x="596566" y="2341197"/>
            <a:ext cx="6434614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Average goats/sheep owned, percentage female stock, birth rates across </a:t>
            </a:r>
          </a:p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treatment and control groups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 4">
            <a:extLst>
              <a:ext uri="{FF2B5EF4-FFF2-40B4-BE49-F238E27FC236}">
                <a16:creationId xmlns:a16="http://schemas.microsoft.com/office/drawing/2014/main" id="{CF530228-1B4F-D806-069C-192E764DDBDF}"/>
              </a:ext>
            </a:extLst>
          </p:cNvPr>
          <p:cNvSpPr/>
          <p:nvPr/>
        </p:nvSpPr>
        <p:spPr>
          <a:xfrm>
            <a:off x="7204773" y="2040802"/>
            <a:ext cx="1736646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Animal Health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 5">
            <a:extLst>
              <a:ext uri="{FF2B5EF4-FFF2-40B4-BE49-F238E27FC236}">
                <a16:creationId xmlns:a16="http://schemas.microsoft.com/office/drawing/2014/main" id="{83043574-4F3F-696B-E093-95DFD9D5723A}"/>
              </a:ext>
            </a:extLst>
          </p:cNvPr>
          <p:cNvSpPr/>
          <p:nvPr/>
        </p:nvSpPr>
        <p:spPr>
          <a:xfrm>
            <a:off x="7204773" y="2341197"/>
            <a:ext cx="4987227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Vaccination coverage, morbidity/mortality rates, disease </a:t>
            </a:r>
          </a:p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incidence tracking and prevention measures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 6">
            <a:extLst>
              <a:ext uri="{FF2B5EF4-FFF2-40B4-BE49-F238E27FC236}">
                <a16:creationId xmlns:a16="http://schemas.microsoft.com/office/drawing/2014/main" id="{FF2DDCC1-5BBB-0479-DCD5-ED93C6F452B3}"/>
              </a:ext>
            </a:extLst>
          </p:cNvPr>
          <p:cNvSpPr/>
          <p:nvPr/>
        </p:nvSpPr>
        <p:spPr>
          <a:xfrm>
            <a:off x="707295" y="3326130"/>
            <a:ext cx="1907977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Productivity Indicator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7">
            <a:extLst>
              <a:ext uri="{FF2B5EF4-FFF2-40B4-BE49-F238E27FC236}">
                <a16:creationId xmlns:a16="http://schemas.microsoft.com/office/drawing/2014/main" id="{AD660CC2-D0FF-0D34-90A9-20B4D033DFEB}"/>
              </a:ext>
            </a:extLst>
          </p:cNvPr>
          <p:cNvSpPr/>
          <p:nvPr/>
        </p:nvSpPr>
        <p:spPr>
          <a:xfrm>
            <a:off x="596566" y="3662553"/>
            <a:ext cx="6434614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 Lambing/kidding intervals and reproductive performance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8">
            <a:extLst>
              <a:ext uri="{FF2B5EF4-FFF2-40B4-BE49-F238E27FC236}">
                <a16:creationId xmlns:a16="http://schemas.microsoft.com/office/drawing/2014/main" id="{1AAAA3F6-56E1-3A4B-F088-886B052AC937}"/>
              </a:ext>
            </a:extLst>
          </p:cNvPr>
          <p:cNvSpPr/>
          <p:nvPr/>
        </p:nvSpPr>
        <p:spPr>
          <a:xfrm>
            <a:off x="7204773" y="3362158"/>
            <a:ext cx="1771174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Offtake Performanc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9">
            <a:extLst>
              <a:ext uri="{FF2B5EF4-FFF2-40B4-BE49-F238E27FC236}">
                <a16:creationId xmlns:a16="http://schemas.microsoft.com/office/drawing/2014/main" id="{D940E3B9-0BA9-351A-D2E7-D23521122054}"/>
              </a:ext>
            </a:extLst>
          </p:cNvPr>
          <p:cNvSpPr/>
          <p:nvPr/>
        </p:nvSpPr>
        <p:spPr>
          <a:xfrm>
            <a:off x="6953761" y="3937494"/>
            <a:ext cx="6434614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Number sold, average liveweight, age at sale, and market channel</a:t>
            </a:r>
          </a:p>
          <a:p>
            <a:pPr marL="0" indent="0" algn="l">
              <a:lnSpc>
                <a:spcPts val="1750"/>
              </a:lnSpc>
              <a:buNone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 performance metrics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CF3C9BB-8D10-244C-DFD7-24498F2A032A}"/>
              </a:ext>
            </a:extLst>
          </p:cNvPr>
          <p:cNvGrpSpPr/>
          <p:nvPr/>
        </p:nvGrpSpPr>
        <p:grpSpPr>
          <a:xfrm>
            <a:off x="197990" y="1949429"/>
            <a:ext cx="371682" cy="371682"/>
            <a:chOff x="3835195" y="5285177"/>
            <a:chExt cx="371682" cy="37168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F8E831AF-8CBB-2AC4-F73E-13E06B72B536}"/>
                </a:ext>
              </a:extLst>
            </p:cNvPr>
            <p:cNvSpPr/>
            <p:nvPr/>
          </p:nvSpPr>
          <p:spPr>
            <a:xfrm>
              <a:off x="3835195" y="5285177"/>
              <a:ext cx="371682" cy="371682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gradFill flip="none" rotWithShape="1">
                <a:gsLst>
                  <a:gs pos="0">
                    <a:srgbClr val="3E6E80"/>
                  </a:gs>
                  <a:gs pos="100000">
                    <a:srgbClr val="5393AB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91440" tIns="91440" rIns="91440" bIns="91440"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1" name="Graphic 22">
              <a:extLst>
                <a:ext uri="{FF2B5EF4-FFF2-40B4-BE49-F238E27FC236}">
                  <a16:creationId xmlns:a16="http://schemas.microsoft.com/office/drawing/2014/main" id="{C19B872C-0F0B-BA6E-C0CA-986E365DB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80447" y="5330429"/>
              <a:ext cx="281178" cy="281178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349D3BD-E4F9-E34C-FE09-82FF4B31E62E}"/>
              </a:ext>
            </a:extLst>
          </p:cNvPr>
          <p:cNvGrpSpPr/>
          <p:nvPr/>
        </p:nvGrpSpPr>
        <p:grpSpPr>
          <a:xfrm>
            <a:off x="6787914" y="3318807"/>
            <a:ext cx="331694" cy="327912"/>
            <a:chOff x="7505088" y="5506791"/>
            <a:chExt cx="474760" cy="474759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A927B0C0-0BA4-B4A5-0E54-288B3A114985}"/>
                </a:ext>
              </a:extLst>
            </p:cNvPr>
            <p:cNvSpPr/>
            <p:nvPr/>
          </p:nvSpPr>
          <p:spPr>
            <a:xfrm>
              <a:off x="7505088" y="5506791"/>
              <a:ext cx="474760" cy="474759"/>
            </a:xfrm>
            <a:prstGeom prst="ellipse">
              <a:avLst/>
            </a:prstGeom>
            <a:solidFill>
              <a:srgbClr val="FFFFFF"/>
            </a:solidFill>
            <a:ln w="15431" cap="flat" cmpd="sng" algn="ctr">
              <a:gradFill flip="none" rotWithShape="1">
                <a:gsLst>
                  <a:gs pos="0">
                    <a:srgbClr val="5393AB">
                      <a:lumMod val="50000"/>
                    </a:srgbClr>
                  </a:gs>
                  <a:gs pos="100000">
                    <a:srgbClr val="5393AB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rot="0" spcFirstLastPara="0" vert="horz" wrap="square" lIns="18665" tIns="18665" rIns="18665" bIns="18665" numCol="1" spcCol="0" rtlCol="0" fromWordArt="0" anchor="ctr" anchorCtr="0" forceAA="0" compatLnSpc="1">
              <a:noAutofit/>
            </a:bodyPr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bcgIcons_Fund ">
              <a:extLst>
                <a:ext uri="{FF2B5EF4-FFF2-40B4-BE49-F238E27FC236}">
                  <a16:creationId xmlns:a16="http://schemas.microsoft.com/office/drawing/2014/main" id="{4C55430F-1D65-13C7-A799-03DF6B40B4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4615" y="5576156"/>
              <a:ext cx="335706" cy="336029"/>
              <a:chOff x="5273675" y="2605088"/>
              <a:chExt cx="1644650" cy="1646237"/>
            </a:xfrm>
          </p:grpSpPr>
          <p:sp>
            <p:nvSpPr>
              <p:cNvPr id="65" name="AutoShape 3">
                <a:extLst>
                  <a:ext uri="{FF2B5EF4-FFF2-40B4-BE49-F238E27FC236}">
                    <a16:creationId xmlns:a16="http://schemas.microsoft.com/office/drawing/2014/main" id="{B16A7FC4-B13B-0A5F-10AB-86B0828981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EC6E7A7C-34A5-9E7A-E582-CF5BBAD39F3F}"/>
                  </a:ext>
                </a:extLst>
              </p:cNvPr>
              <p:cNvGrpSpPr/>
              <p:nvPr/>
            </p:nvGrpSpPr>
            <p:grpSpPr>
              <a:xfrm>
                <a:off x="5497179" y="2775744"/>
                <a:ext cx="1197643" cy="1304925"/>
                <a:chOff x="5497974" y="2774950"/>
                <a:chExt cx="1197643" cy="1304925"/>
              </a:xfrm>
            </p:grpSpPr>
            <p:sp>
              <p:nvSpPr>
                <p:cNvPr id="67" name="Freeform 5">
                  <a:extLst>
                    <a:ext uri="{FF2B5EF4-FFF2-40B4-BE49-F238E27FC236}">
                      <a16:creationId xmlns:a16="http://schemas.microsoft.com/office/drawing/2014/main" id="{DF860A98-8634-B3C3-47DB-4C3128C1C696}"/>
                    </a:ext>
                  </a:extLst>
                </p:cNvPr>
                <p:cNvSpPr/>
                <p:nvPr/>
              </p:nvSpPr>
              <p:spPr bwMode="auto">
                <a:xfrm>
                  <a:off x="5780088" y="2838450"/>
                  <a:ext cx="633413" cy="246062"/>
                </a:xfrm>
                <a:custGeom>
                  <a:avLst/>
                  <a:gdLst>
                    <a:gd name="connsiteX0" fmla="*/ 368300 w 633413"/>
                    <a:gd name="connsiteY0" fmla="*/ 0 h 246062"/>
                    <a:gd name="connsiteX1" fmla="*/ 595540 w 633413"/>
                    <a:gd name="connsiteY1" fmla="*/ 0 h 246062"/>
                    <a:gd name="connsiteX2" fmla="*/ 595540 w 633413"/>
                    <a:gd name="connsiteY2" fmla="*/ 718 h 246062"/>
                    <a:gd name="connsiteX3" fmla="*/ 594111 w 633413"/>
                    <a:gd name="connsiteY3" fmla="*/ 10043 h 246062"/>
                    <a:gd name="connsiteX4" fmla="*/ 622694 w 633413"/>
                    <a:gd name="connsiteY4" fmla="*/ 39456 h 246062"/>
                    <a:gd name="connsiteX5" fmla="*/ 631984 w 633413"/>
                    <a:gd name="connsiteY5" fmla="*/ 37304 h 246062"/>
                    <a:gd name="connsiteX6" fmla="*/ 633413 w 633413"/>
                    <a:gd name="connsiteY6" fmla="*/ 38021 h 246062"/>
                    <a:gd name="connsiteX7" fmla="*/ 633413 w 633413"/>
                    <a:gd name="connsiteY7" fmla="*/ 209476 h 246062"/>
                    <a:gd name="connsiteX8" fmla="*/ 631984 w 633413"/>
                    <a:gd name="connsiteY8" fmla="*/ 210910 h 246062"/>
                    <a:gd name="connsiteX9" fmla="*/ 622694 w 633413"/>
                    <a:gd name="connsiteY9" fmla="*/ 208758 h 246062"/>
                    <a:gd name="connsiteX10" fmla="*/ 594111 w 633413"/>
                    <a:gd name="connsiteY10" fmla="*/ 237454 h 246062"/>
                    <a:gd name="connsiteX11" fmla="*/ 594825 w 633413"/>
                    <a:gd name="connsiteY11" fmla="*/ 245345 h 246062"/>
                    <a:gd name="connsiteX12" fmla="*/ 594825 w 633413"/>
                    <a:gd name="connsiteY12" fmla="*/ 246062 h 246062"/>
                    <a:gd name="connsiteX13" fmla="*/ 368300 w 633413"/>
                    <a:gd name="connsiteY13" fmla="*/ 246062 h 246062"/>
                    <a:gd name="connsiteX14" fmla="*/ 369015 w 633413"/>
                    <a:gd name="connsiteY14" fmla="*/ 244627 h 246062"/>
                    <a:gd name="connsiteX15" fmla="*/ 426182 w 633413"/>
                    <a:gd name="connsiteY15" fmla="*/ 123390 h 246062"/>
                    <a:gd name="connsiteX16" fmla="*/ 369015 w 633413"/>
                    <a:gd name="connsiteY16" fmla="*/ 1435 h 246062"/>
                    <a:gd name="connsiteX17" fmla="*/ 368300 w 633413"/>
                    <a:gd name="connsiteY17" fmla="*/ 0 h 246062"/>
                    <a:gd name="connsiteX18" fmla="*/ 38611 w 633413"/>
                    <a:gd name="connsiteY18" fmla="*/ 0 h 246062"/>
                    <a:gd name="connsiteX19" fmla="*/ 265985 w 633413"/>
                    <a:gd name="connsiteY19" fmla="*/ 0 h 246062"/>
                    <a:gd name="connsiteX20" fmla="*/ 265270 w 633413"/>
                    <a:gd name="connsiteY20" fmla="*/ 1435 h 246062"/>
                    <a:gd name="connsiteX21" fmla="*/ 208069 w 633413"/>
                    <a:gd name="connsiteY21" fmla="*/ 123390 h 246062"/>
                    <a:gd name="connsiteX22" fmla="*/ 265270 w 633413"/>
                    <a:gd name="connsiteY22" fmla="*/ 244627 h 246062"/>
                    <a:gd name="connsiteX23" fmla="*/ 265985 w 633413"/>
                    <a:gd name="connsiteY23" fmla="*/ 246062 h 246062"/>
                    <a:gd name="connsiteX24" fmla="*/ 38611 w 633413"/>
                    <a:gd name="connsiteY24" fmla="*/ 246062 h 246062"/>
                    <a:gd name="connsiteX25" fmla="*/ 38611 w 633413"/>
                    <a:gd name="connsiteY25" fmla="*/ 245345 h 246062"/>
                    <a:gd name="connsiteX26" fmla="*/ 40041 w 633413"/>
                    <a:gd name="connsiteY26" fmla="*/ 237454 h 246062"/>
                    <a:gd name="connsiteX27" fmla="*/ 10725 w 633413"/>
                    <a:gd name="connsiteY27" fmla="*/ 208758 h 246062"/>
                    <a:gd name="connsiteX28" fmla="*/ 2145 w 633413"/>
                    <a:gd name="connsiteY28" fmla="*/ 210193 h 246062"/>
                    <a:gd name="connsiteX29" fmla="*/ 0 w 633413"/>
                    <a:gd name="connsiteY29" fmla="*/ 209476 h 246062"/>
                    <a:gd name="connsiteX30" fmla="*/ 0 w 633413"/>
                    <a:gd name="connsiteY30" fmla="*/ 38739 h 246062"/>
                    <a:gd name="connsiteX31" fmla="*/ 2145 w 633413"/>
                    <a:gd name="connsiteY31" fmla="*/ 37304 h 246062"/>
                    <a:gd name="connsiteX32" fmla="*/ 10725 w 633413"/>
                    <a:gd name="connsiteY32" fmla="*/ 39456 h 246062"/>
                    <a:gd name="connsiteX33" fmla="*/ 40041 w 633413"/>
                    <a:gd name="connsiteY33" fmla="*/ 10043 h 246062"/>
                    <a:gd name="connsiteX34" fmla="*/ 38611 w 633413"/>
                    <a:gd name="connsiteY34" fmla="*/ 718 h 246062"/>
                    <a:gd name="connsiteX35" fmla="*/ 38611 w 633413"/>
                    <a:gd name="connsiteY35" fmla="*/ 0 h 24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633413" h="246062">
                      <a:moveTo>
                        <a:pt x="368300" y="0"/>
                      </a:moveTo>
                      <a:cubicBezTo>
                        <a:pt x="368300" y="0"/>
                        <a:pt x="368300" y="0"/>
                        <a:pt x="595540" y="0"/>
                      </a:cubicBezTo>
                      <a:cubicBezTo>
                        <a:pt x="595540" y="0"/>
                        <a:pt x="595540" y="0"/>
                        <a:pt x="595540" y="718"/>
                      </a:cubicBezTo>
                      <a:cubicBezTo>
                        <a:pt x="594825" y="3587"/>
                        <a:pt x="594111" y="7174"/>
                        <a:pt x="594111" y="10043"/>
                      </a:cubicBezTo>
                      <a:cubicBezTo>
                        <a:pt x="594111" y="25826"/>
                        <a:pt x="606973" y="39456"/>
                        <a:pt x="622694" y="39456"/>
                      </a:cubicBezTo>
                      <a:cubicBezTo>
                        <a:pt x="625553" y="39456"/>
                        <a:pt x="629126" y="38021"/>
                        <a:pt x="631984" y="37304"/>
                      </a:cubicBezTo>
                      <a:cubicBezTo>
                        <a:pt x="632699" y="37304"/>
                        <a:pt x="633413" y="37304"/>
                        <a:pt x="633413" y="38021"/>
                      </a:cubicBezTo>
                      <a:cubicBezTo>
                        <a:pt x="633413" y="38021"/>
                        <a:pt x="633413" y="38021"/>
                        <a:pt x="633413" y="209476"/>
                      </a:cubicBezTo>
                      <a:cubicBezTo>
                        <a:pt x="633413" y="210193"/>
                        <a:pt x="632699" y="210910"/>
                        <a:pt x="631984" y="210910"/>
                      </a:cubicBezTo>
                      <a:cubicBezTo>
                        <a:pt x="629126" y="209476"/>
                        <a:pt x="625553" y="208758"/>
                        <a:pt x="622694" y="208758"/>
                      </a:cubicBezTo>
                      <a:cubicBezTo>
                        <a:pt x="606973" y="208758"/>
                        <a:pt x="594111" y="221671"/>
                        <a:pt x="594111" y="237454"/>
                      </a:cubicBezTo>
                      <a:cubicBezTo>
                        <a:pt x="594111" y="240323"/>
                        <a:pt x="594111" y="242475"/>
                        <a:pt x="594825" y="245345"/>
                      </a:cubicBezTo>
                      <a:cubicBezTo>
                        <a:pt x="594825" y="245345"/>
                        <a:pt x="594825" y="245345"/>
                        <a:pt x="594825" y="246062"/>
                      </a:cubicBezTo>
                      <a:cubicBezTo>
                        <a:pt x="594825" y="246062"/>
                        <a:pt x="594825" y="246062"/>
                        <a:pt x="368300" y="246062"/>
                      </a:cubicBezTo>
                      <a:cubicBezTo>
                        <a:pt x="368300" y="245345"/>
                        <a:pt x="368300" y="245345"/>
                        <a:pt x="369015" y="244627"/>
                      </a:cubicBezTo>
                      <a:cubicBezTo>
                        <a:pt x="398313" y="223823"/>
                        <a:pt x="426182" y="176476"/>
                        <a:pt x="426182" y="123390"/>
                      </a:cubicBezTo>
                      <a:cubicBezTo>
                        <a:pt x="426182" y="69586"/>
                        <a:pt x="398313" y="22956"/>
                        <a:pt x="369015" y="1435"/>
                      </a:cubicBezTo>
                      <a:cubicBezTo>
                        <a:pt x="368300" y="718"/>
                        <a:pt x="368300" y="718"/>
                        <a:pt x="368300" y="0"/>
                      </a:cubicBezTo>
                      <a:close/>
                      <a:moveTo>
                        <a:pt x="38611" y="0"/>
                      </a:moveTo>
                      <a:cubicBezTo>
                        <a:pt x="38611" y="0"/>
                        <a:pt x="38611" y="0"/>
                        <a:pt x="265985" y="0"/>
                      </a:cubicBezTo>
                      <a:cubicBezTo>
                        <a:pt x="266700" y="718"/>
                        <a:pt x="265985" y="718"/>
                        <a:pt x="265270" y="1435"/>
                      </a:cubicBezTo>
                      <a:cubicBezTo>
                        <a:pt x="236670" y="22956"/>
                        <a:pt x="208069" y="69586"/>
                        <a:pt x="208069" y="123390"/>
                      </a:cubicBezTo>
                      <a:cubicBezTo>
                        <a:pt x="208069" y="176476"/>
                        <a:pt x="236670" y="223823"/>
                        <a:pt x="265270" y="244627"/>
                      </a:cubicBezTo>
                      <a:cubicBezTo>
                        <a:pt x="265985" y="245345"/>
                        <a:pt x="266700" y="245345"/>
                        <a:pt x="265985" y="246062"/>
                      </a:cubicBezTo>
                      <a:cubicBezTo>
                        <a:pt x="265985" y="246062"/>
                        <a:pt x="265985" y="246062"/>
                        <a:pt x="38611" y="246062"/>
                      </a:cubicBezTo>
                      <a:cubicBezTo>
                        <a:pt x="38611" y="246062"/>
                        <a:pt x="38611" y="246062"/>
                        <a:pt x="38611" y="245345"/>
                      </a:cubicBezTo>
                      <a:cubicBezTo>
                        <a:pt x="39326" y="242475"/>
                        <a:pt x="40041" y="240323"/>
                        <a:pt x="40041" y="237454"/>
                      </a:cubicBezTo>
                      <a:cubicBezTo>
                        <a:pt x="40041" y="221671"/>
                        <a:pt x="26456" y="208758"/>
                        <a:pt x="10725" y="208758"/>
                      </a:cubicBezTo>
                      <a:cubicBezTo>
                        <a:pt x="7865" y="208758"/>
                        <a:pt x="4290" y="209476"/>
                        <a:pt x="2145" y="210193"/>
                      </a:cubicBezTo>
                      <a:cubicBezTo>
                        <a:pt x="715" y="210910"/>
                        <a:pt x="0" y="210193"/>
                        <a:pt x="0" y="209476"/>
                      </a:cubicBezTo>
                      <a:cubicBezTo>
                        <a:pt x="0" y="209476"/>
                        <a:pt x="0" y="209476"/>
                        <a:pt x="0" y="38739"/>
                      </a:cubicBezTo>
                      <a:cubicBezTo>
                        <a:pt x="0" y="37304"/>
                        <a:pt x="715" y="37304"/>
                        <a:pt x="2145" y="37304"/>
                      </a:cubicBezTo>
                      <a:cubicBezTo>
                        <a:pt x="4290" y="38021"/>
                        <a:pt x="7865" y="39456"/>
                        <a:pt x="10725" y="39456"/>
                      </a:cubicBezTo>
                      <a:cubicBezTo>
                        <a:pt x="26456" y="39456"/>
                        <a:pt x="40041" y="25826"/>
                        <a:pt x="40041" y="10043"/>
                      </a:cubicBezTo>
                      <a:cubicBezTo>
                        <a:pt x="40041" y="7174"/>
                        <a:pt x="39326" y="3587"/>
                        <a:pt x="38611" y="718"/>
                      </a:cubicBezTo>
                      <a:cubicBezTo>
                        <a:pt x="38611" y="718"/>
                        <a:pt x="38611" y="718"/>
                        <a:pt x="38611" y="0"/>
                      </a:cubicBezTo>
                      <a:close/>
                    </a:path>
                  </a:pathLst>
                </a:custGeom>
                <a:solidFill>
                  <a:srgbClr val="5393A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26663" tIns="13332" rIns="26663" bIns="13332" numCol="1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" name="Freeform 6">
                  <a:extLst>
                    <a:ext uri="{FF2B5EF4-FFF2-40B4-BE49-F238E27FC236}">
                      <a16:creationId xmlns:a16="http://schemas.microsoft.com/office/drawing/2014/main" id="{E92E744A-17EA-C6CD-5FCF-F92017E9FADA}"/>
                    </a:ext>
                  </a:extLst>
                </p:cNvPr>
                <p:cNvSpPr/>
                <p:nvPr/>
              </p:nvSpPr>
              <p:spPr bwMode="auto">
                <a:xfrm>
                  <a:off x="5497974" y="2774950"/>
                  <a:ext cx="1197643" cy="1304925"/>
                </a:xfrm>
                <a:custGeom>
                  <a:avLst/>
                  <a:gdLst>
                    <a:gd name="connsiteX0" fmla="*/ 1077708 w 1197643"/>
                    <a:gd name="connsiteY0" fmla="*/ 315913 h 1304925"/>
                    <a:gd name="connsiteX1" fmla="*/ 1066261 w 1197643"/>
                    <a:gd name="connsiteY1" fmla="*/ 318056 h 1304925"/>
                    <a:gd name="connsiteX2" fmla="*/ 1044083 w 1197643"/>
                    <a:gd name="connsiteY2" fmla="*/ 337344 h 1304925"/>
                    <a:gd name="connsiteX3" fmla="*/ 1041936 w 1197643"/>
                    <a:gd name="connsiteY3" fmla="*/ 366634 h 1304925"/>
                    <a:gd name="connsiteX4" fmla="*/ 1065545 w 1197643"/>
                    <a:gd name="connsiteY4" fmla="*/ 434499 h 1304925"/>
                    <a:gd name="connsiteX5" fmla="*/ 1074130 w 1197643"/>
                    <a:gd name="connsiteY5" fmla="*/ 617379 h 1304925"/>
                    <a:gd name="connsiteX6" fmla="*/ 1071984 w 1197643"/>
                    <a:gd name="connsiteY6" fmla="*/ 623809 h 1304925"/>
                    <a:gd name="connsiteX7" fmla="*/ 966816 w 1197643"/>
                    <a:gd name="connsiteY7" fmla="*/ 788829 h 1304925"/>
                    <a:gd name="connsiteX8" fmla="*/ 946069 w 1197643"/>
                    <a:gd name="connsiteY8" fmla="*/ 805260 h 1304925"/>
                    <a:gd name="connsiteX9" fmla="*/ 920314 w 1197643"/>
                    <a:gd name="connsiteY9" fmla="*/ 814547 h 1304925"/>
                    <a:gd name="connsiteX10" fmla="*/ 885258 w 1197643"/>
                    <a:gd name="connsiteY10" fmla="*/ 795973 h 1304925"/>
                    <a:gd name="connsiteX11" fmla="*/ 882396 w 1197643"/>
                    <a:gd name="connsiteY11" fmla="*/ 756682 h 1304925"/>
                    <a:gd name="connsiteX12" fmla="*/ 931045 w 1197643"/>
                    <a:gd name="connsiteY12" fmla="*/ 646669 h 1304925"/>
                    <a:gd name="connsiteX13" fmla="*/ 917452 w 1197643"/>
                    <a:gd name="connsiteY13" fmla="*/ 605235 h 1304925"/>
                    <a:gd name="connsiteX14" fmla="*/ 901713 w 1197643"/>
                    <a:gd name="connsiteY14" fmla="*/ 600949 h 1304925"/>
                    <a:gd name="connsiteX15" fmla="*/ 873811 w 1197643"/>
                    <a:gd name="connsiteY15" fmla="*/ 616665 h 1304925"/>
                    <a:gd name="connsiteX16" fmla="*/ 710693 w 1197643"/>
                    <a:gd name="connsiteY16" fmla="*/ 875268 h 1304925"/>
                    <a:gd name="connsiteX17" fmla="*/ 688515 w 1197643"/>
                    <a:gd name="connsiteY17" fmla="*/ 950278 h 1304925"/>
                    <a:gd name="connsiteX18" fmla="*/ 689946 w 1197643"/>
                    <a:gd name="connsiteY18" fmla="*/ 1273175 h 1304925"/>
                    <a:gd name="connsiteX19" fmla="*/ 956800 w 1197643"/>
                    <a:gd name="connsiteY19" fmla="*/ 1273175 h 1304925"/>
                    <a:gd name="connsiteX20" fmla="*/ 956800 w 1197643"/>
                    <a:gd name="connsiteY20" fmla="*/ 1096010 h 1304925"/>
                    <a:gd name="connsiteX21" fmla="*/ 956800 w 1197643"/>
                    <a:gd name="connsiteY21" fmla="*/ 1091724 h 1304925"/>
                    <a:gd name="connsiteX22" fmla="*/ 993287 w 1197643"/>
                    <a:gd name="connsiteY22" fmla="*/ 995998 h 1304925"/>
                    <a:gd name="connsiteX23" fmla="*/ 1059822 w 1197643"/>
                    <a:gd name="connsiteY23" fmla="*/ 896700 h 1304925"/>
                    <a:gd name="connsiteX24" fmla="*/ 1153543 w 1197643"/>
                    <a:gd name="connsiteY24" fmla="*/ 672386 h 1304925"/>
                    <a:gd name="connsiteX25" fmla="*/ 1156405 w 1197643"/>
                    <a:gd name="connsiteY25" fmla="*/ 659527 h 1304925"/>
                    <a:gd name="connsiteX26" fmla="*/ 1138519 w 1197643"/>
                    <a:gd name="connsiteY26" fmla="*/ 408067 h 1304925"/>
                    <a:gd name="connsiteX27" fmla="*/ 1113479 w 1197643"/>
                    <a:gd name="connsiteY27" fmla="*/ 340916 h 1304925"/>
                    <a:gd name="connsiteX28" fmla="*/ 1077708 w 1197643"/>
                    <a:gd name="connsiteY28" fmla="*/ 315913 h 1304925"/>
                    <a:gd name="connsiteX29" fmla="*/ 118348 w 1197643"/>
                    <a:gd name="connsiteY29" fmla="*/ 315913 h 1304925"/>
                    <a:gd name="connsiteX30" fmla="*/ 82577 w 1197643"/>
                    <a:gd name="connsiteY30" fmla="*/ 340916 h 1304925"/>
                    <a:gd name="connsiteX31" fmla="*/ 57537 w 1197643"/>
                    <a:gd name="connsiteY31" fmla="*/ 408067 h 1304925"/>
                    <a:gd name="connsiteX32" fmla="*/ 39651 w 1197643"/>
                    <a:gd name="connsiteY32" fmla="*/ 659527 h 1304925"/>
                    <a:gd name="connsiteX33" fmla="*/ 42513 w 1197643"/>
                    <a:gd name="connsiteY33" fmla="*/ 672386 h 1304925"/>
                    <a:gd name="connsiteX34" fmla="*/ 136234 w 1197643"/>
                    <a:gd name="connsiteY34" fmla="*/ 896700 h 1304925"/>
                    <a:gd name="connsiteX35" fmla="*/ 202768 w 1197643"/>
                    <a:gd name="connsiteY35" fmla="*/ 995998 h 1304925"/>
                    <a:gd name="connsiteX36" fmla="*/ 239255 w 1197643"/>
                    <a:gd name="connsiteY36" fmla="*/ 1091724 h 1304925"/>
                    <a:gd name="connsiteX37" fmla="*/ 239255 w 1197643"/>
                    <a:gd name="connsiteY37" fmla="*/ 1096010 h 1304925"/>
                    <a:gd name="connsiteX38" fmla="*/ 239255 w 1197643"/>
                    <a:gd name="connsiteY38" fmla="*/ 1273175 h 1304925"/>
                    <a:gd name="connsiteX39" fmla="*/ 506109 w 1197643"/>
                    <a:gd name="connsiteY39" fmla="*/ 1273175 h 1304925"/>
                    <a:gd name="connsiteX40" fmla="*/ 507540 w 1197643"/>
                    <a:gd name="connsiteY40" fmla="*/ 950278 h 1304925"/>
                    <a:gd name="connsiteX41" fmla="*/ 485362 w 1197643"/>
                    <a:gd name="connsiteY41" fmla="*/ 875268 h 1304925"/>
                    <a:gd name="connsiteX42" fmla="*/ 322245 w 1197643"/>
                    <a:gd name="connsiteY42" fmla="*/ 616665 h 1304925"/>
                    <a:gd name="connsiteX43" fmla="*/ 294343 w 1197643"/>
                    <a:gd name="connsiteY43" fmla="*/ 600949 h 1304925"/>
                    <a:gd name="connsiteX44" fmla="*/ 278604 w 1197643"/>
                    <a:gd name="connsiteY44" fmla="*/ 605235 h 1304925"/>
                    <a:gd name="connsiteX45" fmla="*/ 265010 w 1197643"/>
                    <a:gd name="connsiteY45" fmla="*/ 646669 h 1304925"/>
                    <a:gd name="connsiteX46" fmla="*/ 313659 w 1197643"/>
                    <a:gd name="connsiteY46" fmla="*/ 756682 h 1304925"/>
                    <a:gd name="connsiteX47" fmla="*/ 310798 w 1197643"/>
                    <a:gd name="connsiteY47" fmla="*/ 795973 h 1304925"/>
                    <a:gd name="connsiteX48" fmla="*/ 275742 w 1197643"/>
                    <a:gd name="connsiteY48" fmla="*/ 814547 h 1304925"/>
                    <a:gd name="connsiteX49" fmla="*/ 249986 w 1197643"/>
                    <a:gd name="connsiteY49" fmla="*/ 805260 h 1304925"/>
                    <a:gd name="connsiteX50" fmla="*/ 229239 w 1197643"/>
                    <a:gd name="connsiteY50" fmla="*/ 788829 h 1304925"/>
                    <a:gd name="connsiteX51" fmla="*/ 124071 w 1197643"/>
                    <a:gd name="connsiteY51" fmla="*/ 623809 h 1304925"/>
                    <a:gd name="connsiteX52" fmla="*/ 121925 w 1197643"/>
                    <a:gd name="connsiteY52" fmla="*/ 617379 h 1304925"/>
                    <a:gd name="connsiteX53" fmla="*/ 130510 w 1197643"/>
                    <a:gd name="connsiteY53" fmla="*/ 434499 h 1304925"/>
                    <a:gd name="connsiteX54" fmla="*/ 154119 w 1197643"/>
                    <a:gd name="connsiteY54" fmla="*/ 366634 h 1304925"/>
                    <a:gd name="connsiteX55" fmla="*/ 151973 w 1197643"/>
                    <a:gd name="connsiteY55" fmla="*/ 337344 h 1304925"/>
                    <a:gd name="connsiteX56" fmla="*/ 129795 w 1197643"/>
                    <a:gd name="connsiteY56" fmla="*/ 318056 h 1304925"/>
                    <a:gd name="connsiteX57" fmla="*/ 118348 w 1197643"/>
                    <a:gd name="connsiteY57" fmla="*/ 315913 h 1304925"/>
                    <a:gd name="connsiteX58" fmla="*/ 1078223 w 1197643"/>
                    <a:gd name="connsiteY58" fmla="*/ 284163 h 1304925"/>
                    <a:gd name="connsiteX59" fmla="*/ 1143202 w 1197643"/>
                    <a:gd name="connsiteY59" fmla="*/ 329912 h 1304925"/>
                    <a:gd name="connsiteX60" fmla="*/ 1168195 w 1197643"/>
                    <a:gd name="connsiteY60" fmla="*/ 396390 h 1304925"/>
                    <a:gd name="connsiteX61" fmla="*/ 1186760 w 1197643"/>
                    <a:gd name="connsiteY61" fmla="*/ 665877 h 1304925"/>
                    <a:gd name="connsiteX62" fmla="*/ 1183904 w 1197643"/>
                    <a:gd name="connsiteY62" fmla="*/ 679458 h 1304925"/>
                    <a:gd name="connsiteX63" fmla="*/ 1086077 w 1197643"/>
                    <a:gd name="connsiteY63" fmla="*/ 913919 h 1304925"/>
                    <a:gd name="connsiteX64" fmla="*/ 1020383 w 1197643"/>
                    <a:gd name="connsiteY64" fmla="*/ 1013279 h 1304925"/>
                    <a:gd name="connsiteX65" fmla="*/ 988964 w 1197643"/>
                    <a:gd name="connsiteY65" fmla="*/ 1096198 h 1304925"/>
                    <a:gd name="connsiteX66" fmla="*/ 989678 w 1197643"/>
                    <a:gd name="connsiteY66" fmla="*/ 1289199 h 1304925"/>
                    <a:gd name="connsiteX67" fmla="*/ 973969 w 1197643"/>
                    <a:gd name="connsiteY67" fmla="*/ 1304925 h 1304925"/>
                    <a:gd name="connsiteX68" fmla="*/ 667635 w 1197643"/>
                    <a:gd name="connsiteY68" fmla="*/ 1304925 h 1304925"/>
                    <a:gd name="connsiteX69" fmla="*/ 659780 w 1197643"/>
                    <a:gd name="connsiteY69" fmla="*/ 1291344 h 1304925"/>
                    <a:gd name="connsiteX70" fmla="*/ 658352 w 1197643"/>
                    <a:gd name="connsiteY70" fmla="*/ 950375 h 1304925"/>
                    <a:gd name="connsiteX71" fmla="*/ 684773 w 1197643"/>
                    <a:gd name="connsiteY71" fmla="*/ 858163 h 1304925"/>
                    <a:gd name="connsiteX72" fmla="*/ 849008 w 1197643"/>
                    <a:gd name="connsiteY72" fmla="*/ 599398 h 1304925"/>
                    <a:gd name="connsiteX73" fmla="*/ 902563 w 1197643"/>
                    <a:gd name="connsiteY73" fmla="*/ 569376 h 1304925"/>
                    <a:gd name="connsiteX74" fmla="*/ 933267 w 1197643"/>
                    <a:gd name="connsiteY74" fmla="*/ 577954 h 1304925"/>
                    <a:gd name="connsiteX75" fmla="*/ 960402 w 1197643"/>
                    <a:gd name="connsiteY75" fmla="*/ 659443 h 1304925"/>
                    <a:gd name="connsiteX76" fmla="*/ 911845 w 1197643"/>
                    <a:gd name="connsiteY76" fmla="*/ 769525 h 1304925"/>
                    <a:gd name="connsiteX77" fmla="*/ 921128 w 1197643"/>
                    <a:gd name="connsiteY77" fmla="*/ 783107 h 1304925"/>
                    <a:gd name="connsiteX78" fmla="*/ 926841 w 1197643"/>
                    <a:gd name="connsiteY78" fmla="*/ 780963 h 1304925"/>
                    <a:gd name="connsiteX79" fmla="*/ 948263 w 1197643"/>
                    <a:gd name="connsiteY79" fmla="*/ 763807 h 1304925"/>
                    <a:gd name="connsiteX80" fmla="*/ 1042519 w 1197643"/>
                    <a:gd name="connsiteY80" fmla="*/ 616554 h 1304925"/>
                    <a:gd name="connsiteX81" fmla="*/ 1043947 w 1197643"/>
                    <a:gd name="connsiteY81" fmla="*/ 609406 h 1304925"/>
                    <a:gd name="connsiteX82" fmla="*/ 1036093 w 1197643"/>
                    <a:gd name="connsiteY82" fmla="*/ 444997 h 1304925"/>
                    <a:gd name="connsiteX83" fmla="*/ 1013243 w 1197643"/>
                    <a:gd name="connsiteY83" fmla="*/ 376375 h 1304925"/>
                    <a:gd name="connsiteX84" fmla="*/ 1056801 w 1197643"/>
                    <a:gd name="connsiteY84" fmla="*/ 287737 h 1304925"/>
                    <a:gd name="connsiteX85" fmla="*/ 1078223 w 1197643"/>
                    <a:gd name="connsiteY85" fmla="*/ 284163 h 1304925"/>
                    <a:gd name="connsiteX86" fmla="*/ 119420 w 1197643"/>
                    <a:gd name="connsiteY86" fmla="*/ 284163 h 1304925"/>
                    <a:gd name="connsiteX87" fmla="*/ 140842 w 1197643"/>
                    <a:gd name="connsiteY87" fmla="*/ 287737 h 1304925"/>
                    <a:gd name="connsiteX88" fmla="*/ 184400 w 1197643"/>
                    <a:gd name="connsiteY88" fmla="*/ 376375 h 1304925"/>
                    <a:gd name="connsiteX89" fmla="*/ 161550 w 1197643"/>
                    <a:gd name="connsiteY89" fmla="*/ 444997 h 1304925"/>
                    <a:gd name="connsiteX90" fmla="*/ 153695 w 1197643"/>
                    <a:gd name="connsiteY90" fmla="*/ 609406 h 1304925"/>
                    <a:gd name="connsiteX91" fmla="*/ 155123 w 1197643"/>
                    <a:gd name="connsiteY91" fmla="*/ 616554 h 1304925"/>
                    <a:gd name="connsiteX92" fmla="*/ 249380 w 1197643"/>
                    <a:gd name="connsiteY92" fmla="*/ 763807 h 1304925"/>
                    <a:gd name="connsiteX93" fmla="*/ 270802 w 1197643"/>
                    <a:gd name="connsiteY93" fmla="*/ 780963 h 1304925"/>
                    <a:gd name="connsiteX94" fmla="*/ 276514 w 1197643"/>
                    <a:gd name="connsiteY94" fmla="*/ 783107 h 1304925"/>
                    <a:gd name="connsiteX95" fmla="*/ 285797 w 1197643"/>
                    <a:gd name="connsiteY95" fmla="*/ 769525 h 1304925"/>
                    <a:gd name="connsiteX96" fmla="*/ 237241 w 1197643"/>
                    <a:gd name="connsiteY96" fmla="*/ 659443 h 1304925"/>
                    <a:gd name="connsiteX97" fmla="*/ 264375 w 1197643"/>
                    <a:gd name="connsiteY97" fmla="*/ 577954 h 1304925"/>
                    <a:gd name="connsiteX98" fmla="*/ 295080 w 1197643"/>
                    <a:gd name="connsiteY98" fmla="*/ 569376 h 1304925"/>
                    <a:gd name="connsiteX99" fmla="*/ 348635 w 1197643"/>
                    <a:gd name="connsiteY99" fmla="*/ 599398 h 1304925"/>
                    <a:gd name="connsiteX100" fmla="*/ 512870 w 1197643"/>
                    <a:gd name="connsiteY100" fmla="*/ 858163 h 1304925"/>
                    <a:gd name="connsiteX101" fmla="*/ 539290 w 1197643"/>
                    <a:gd name="connsiteY101" fmla="*/ 950375 h 1304925"/>
                    <a:gd name="connsiteX102" fmla="*/ 537862 w 1197643"/>
                    <a:gd name="connsiteY102" fmla="*/ 1291344 h 1304925"/>
                    <a:gd name="connsiteX103" fmla="*/ 530007 w 1197643"/>
                    <a:gd name="connsiteY103" fmla="*/ 1304925 h 1304925"/>
                    <a:gd name="connsiteX104" fmla="*/ 224387 w 1197643"/>
                    <a:gd name="connsiteY104" fmla="*/ 1304925 h 1304925"/>
                    <a:gd name="connsiteX105" fmla="*/ 223673 w 1197643"/>
                    <a:gd name="connsiteY105" fmla="*/ 1304925 h 1304925"/>
                    <a:gd name="connsiteX106" fmla="*/ 207964 w 1197643"/>
                    <a:gd name="connsiteY106" fmla="*/ 1289199 h 1304925"/>
                    <a:gd name="connsiteX107" fmla="*/ 208678 w 1197643"/>
                    <a:gd name="connsiteY107" fmla="*/ 1096198 h 1304925"/>
                    <a:gd name="connsiteX108" fmla="*/ 177259 w 1197643"/>
                    <a:gd name="connsiteY108" fmla="*/ 1013279 h 1304925"/>
                    <a:gd name="connsiteX109" fmla="*/ 111565 w 1197643"/>
                    <a:gd name="connsiteY109" fmla="*/ 913919 h 1304925"/>
                    <a:gd name="connsiteX110" fmla="*/ 13738 w 1197643"/>
                    <a:gd name="connsiteY110" fmla="*/ 679458 h 1304925"/>
                    <a:gd name="connsiteX111" fmla="*/ 10882 w 1197643"/>
                    <a:gd name="connsiteY111" fmla="*/ 665877 h 1304925"/>
                    <a:gd name="connsiteX112" fmla="*/ 29448 w 1197643"/>
                    <a:gd name="connsiteY112" fmla="*/ 396390 h 1304925"/>
                    <a:gd name="connsiteX113" fmla="*/ 54440 w 1197643"/>
                    <a:gd name="connsiteY113" fmla="*/ 329912 h 1304925"/>
                    <a:gd name="connsiteX114" fmla="*/ 119420 w 1197643"/>
                    <a:gd name="connsiteY114" fmla="*/ 284163 h 1304925"/>
                    <a:gd name="connsiteX115" fmla="*/ 586062 w 1197643"/>
                    <a:gd name="connsiteY115" fmla="*/ 84138 h 1304925"/>
                    <a:gd name="connsiteX116" fmla="*/ 611739 w 1197643"/>
                    <a:gd name="connsiteY116" fmla="*/ 84138 h 1304925"/>
                    <a:gd name="connsiteX117" fmla="*/ 611739 w 1197643"/>
                    <a:gd name="connsiteY117" fmla="*/ 102626 h 1304925"/>
                    <a:gd name="connsiteX118" fmla="*/ 641694 w 1197643"/>
                    <a:gd name="connsiteY118" fmla="*/ 112581 h 1304925"/>
                    <a:gd name="connsiteX119" fmla="*/ 633849 w 1197643"/>
                    <a:gd name="connsiteY119" fmla="*/ 136046 h 1304925"/>
                    <a:gd name="connsiteX120" fmla="*/ 600327 w 1197643"/>
                    <a:gd name="connsiteY120" fmla="*/ 125380 h 1304925"/>
                    <a:gd name="connsiteX121" fmla="*/ 585349 w 1197643"/>
                    <a:gd name="connsiteY121" fmla="*/ 130357 h 1304925"/>
                    <a:gd name="connsiteX122" fmla="*/ 579643 w 1197643"/>
                    <a:gd name="connsiteY122" fmla="*/ 144579 h 1304925"/>
                    <a:gd name="connsiteX123" fmla="*/ 611025 w 1197643"/>
                    <a:gd name="connsiteY123" fmla="*/ 172310 h 1304925"/>
                    <a:gd name="connsiteX124" fmla="*/ 635275 w 1197643"/>
                    <a:gd name="connsiteY124" fmla="*/ 187954 h 1304925"/>
                    <a:gd name="connsiteX125" fmla="*/ 645260 w 1197643"/>
                    <a:gd name="connsiteY125" fmla="*/ 202886 h 1304925"/>
                    <a:gd name="connsiteX126" fmla="*/ 648826 w 1197643"/>
                    <a:gd name="connsiteY126" fmla="*/ 222085 h 1304925"/>
                    <a:gd name="connsiteX127" fmla="*/ 638841 w 1197643"/>
                    <a:gd name="connsiteY127" fmla="*/ 249105 h 1304925"/>
                    <a:gd name="connsiteX128" fmla="*/ 611739 w 1197643"/>
                    <a:gd name="connsiteY128" fmla="*/ 264749 h 1304925"/>
                    <a:gd name="connsiteX129" fmla="*/ 611739 w 1197643"/>
                    <a:gd name="connsiteY129" fmla="*/ 288925 h 1304925"/>
                    <a:gd name="connsiteX130" fmla="*/ 586062 w 1197643"/>
                    <a:gd name="connsiteY130" fmla="*/ 288925 h 1304925"/>
                    <a:gd name="connsiteX131" fmla="*/ 586062 w 1197643"/>
                    <a:gd name="connsiteY131" fmla="*/ 266171 h 1304925"/>
                    <a:gd name="connsiteX132" fmla="*/ 550401 w 1197643"/>
                    <a:gd name="connsiteY132" fmla="*/ 254794 h 1304925"/>
                    <a:gd name="connsiteX133" fmla="*/ 561813 w 1197643"/>
                    <a:gd name="connsiteY133" fmla="*/ 229907 h 1304925"/>
                    <a:gd name="connsiteX134" fmla="*/ 594621 w 1197643"/>
                    <a:gd name="connsiteY134" fmla="*/ 241284 h 1304925"/>
                    <a:gd name="connsiteX135" fmla="*/ 620297 w 1197643"/>
                    <a:gd name="connsiteY135" fmla="*/ 224218 h 1304925"/>
                    <a:gd name="connsiteX136" fmla="*/ 613878 w 1197643"/>
                    <a:gd name="connsiteY136" fmla="*/ 208575 h 1304925"/>
                    <a:gd name="connsiteX137" fmla="*/ 588915 w 1197643"/>
                    <a:gd name="connsiteY137" fmla="*/ 191509 h 1304925"/>
                    <a:gd name="connsiteX138" fmla="*/ 564666 w 1197643"/>
                    <a:gd name="connsiteY138" fmla="*/ 177288 h 1304925"/>
                    <a:gd name="connsiteX139" fmla="*/ 553967 w 1197643"/>
                    <a:gd name="connsiteY139" fmla="*/ 162355 h 1304925"/>
                    <a:gd name="connsiteX140" fmla="*/ 551114 w 1197643"/>
                    <a:gd name="connsiteY140" fmla="*/ 144579 h 1304925"/>
                    <a:gd name="connsiteX141" fmla="*/ 561100 w 1197643"/>
                    <a:gd name="connsiteY141" fmla="*/ 118980 h 1304925"/>
                    <a:gd name="connsiteX142" fmla="*/ 586062 w 1197643"/>
                    <a:gd name="connsiteY142" fmla="*/ 104048 h 1304925"/>
                    <a:gd name="connsiteX143" fmla="*/ 586062 w 1197643"/>
                    <a:gd name="connsiteY143" fmla="*/ 84138 h 1304925"/>
                    <a:gd name="connsiteX144" fmla="*/ 248776 w 1197643"/>
                    <a:gd name="connsiteY144" fmla="*/ 31750 h 1304925"/>
                    <a:gd name="connsiteX145" fmla="*/ 248776 w 1197643"/>
                    <a:gd name="connsiteY145" fmla="*/ 341312 h 1304925"/>
                    <a:gd name="connsiteX146" fmla="*/ 947276 w 1197643"/>
                    <a:gd name="connsiteY146" fmla="*/ 341312 h 1304925"/>
                    <a:gd name="connsiteX147" fmla="*/ 947276 w 1197643"/>
                    <a:gd name="connsiteY147" fmla="*/ 31750 h 1304925"/>
                    <a:gd name="connsiteX148" fmla="*/ 248776 w 1197643"/>
                    <a:gd name="connsiteY148" fmla="*/ 31750 h 1304925"/>
                    <a:gd name="connsiteX149" fmla="*/ 226319 w 1197643"/>
                    <a:gd name="connsiteY149" fmla="*/ 0 h 1304925"/>
                    <a:gd name="connsiteX150" fmla="*/ 969734 w 1197643"/>
                    <a:gd name="connsiteY150" fmla="*/ 0 h 1304925"/>
                    <a:gd name="connsiteX151" fmla="*/ 979026 w 1197643"/>
                    <a:gd name="connsiteY151" fmla="*/ 8576 h 1304925"/>
                    <a:gd name="connsiteX152" fmla="*/ 979026 w 1197643"/>
                    <a:gd name="connsiteY152" fmla="*/ 363771 h 1304925"/>
                    <a:gd name="connsiteX153" fmla="*/ 969734 w 1197643"/>
                    <a:gd name="connsiteY153" fmla="*/ 373062 h 1304925"/>
                    <a:gd name="connsiteX154" fmla="*/ 226319 w 1197643"/>
                    <a:gd name="connsiteY154" fmla="*/ 373062 h 1304925"/>
                    <a:gd name="connsiteX155" fmla="*/ 217026 w 1197643"/>
                    <a:gd name="connsiteY155" fmla="*/ 363771 h 1304925"/>
                    <a:gd name="connsiteX156" fmla="*/ 217026 w 1197643"/>
                    <a:gd name="connsiteY156" fmla="*/ 8576 h 1304925"/>
                    <a:gd name="connsiteX157" fmla="*/ 226319 w 1197643"/>
                    <a:gd name="connsiteY157" fmla="*/ 0 h 130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</a:cxnLst>
                  <a:rect l="l" t="t" r="r" b="b"/>
                  <a:pathLst>
                    <a:path w="1197643" h="1304925">
                      <a:moveTo>
                        <a:pt x="1077708" y="315913"/>
                      </a:moveTo>
                      <a:cubicBezTo>
                        <a:pt x="1074130" y="315913"/>
                        <a:pt x="1069838" y="316627"/>
                        <a:pt x="1066261" y="318056"/>
                      </a:cubicBezTo>
                      <a:cubicBezTo>
                        <a:pt x="1056245" y="321628"/>
                        <a:pt x="1048375" y="328057"/>
                        <a:pt x="1044083" y="337344"/>
                      </a:cubicBezTo>
                      <a:cubicBezTo>
                        <a:pt x="1039075" y="346631"/>
                        <a:pt x="1039075" y="356632"/>
                        <a:pt x="1041936" y="366634"/>
                      </a:cubicBezTo>
                      <a:cubicBezTo>
                        <a:pt x="1041936" y="366634"/>
                        <a:pt x="1041936" y="366634"/>
                        <a:pt x="1065545" y="434499"/>
                      </a:cubicBezTo>
                      <a:cubicBezTo>
                        <a:pt x="1085577" y="493792"/>
                        <a:pt x="1088439" y="556657"/>
                        <a:pt x="1074130" y="617379"/>
                      </a:cubicBezTo>
                      <a:cubicBezTo>
                        <a:pt x="1074130" y="617379"/>
                        <a:pt x="1074130" y="617379"/>
                        <a:pt x="1071984" y="623809"/>
                      </a:cubicBezTo>
                      <a:cubicBezTo>
                        <a:pt x="1056245" y="688817"/>
                        <a:pt x="1019043" y="746681"/>
                        <a:pt x="966816" y="788829"/>
                      </a:cubicBezTo>
                      <a:cubicBezTo>
                        <a:pt x="966816" y="788829"/>
                        <a:pt x="966816" y="788829"/>
                        <a:pt x="946069" y="805260"/>
                      </a:cubicBezTo>
                      <a:cubicBezTo>
                        <a:pt x="938199" y="811689"/>
                        <a:pt x="929614" y="814547"/>
                        <a:pt x="920314" y="814547"/>
                      </a:cubicBezTo>
                      <a:cubicBezTo>
                        <a:pt x="906005" y="814547"/>
                        <a:pt x="893127" y="807403"/>
                        <a:pt x="885258" y="795973"/>
                      </a:cubicBezTo>
                      <a:cubicBezTo>
                        <a:pt x="878103" y="783829"/>
                        <a:pt x="876673" y="769541"/>
                        <a:pt x="882396" y="756682"/>
                      </a:cubicBezTo>
                      <a:cubicBezTo>
                        <a:pt x="882396" y="756682"/>
                        <a:pt x="882396" y="756682"/>
                        <a:pt x="931045" y="646669"/>
                      </a:cubicBezTo>
                      <a:cubicBezTo>
                        <a:pt x="937484" y="631667"/>
                        <a:pt x="931760" y="613807"/>
                        <a:pt x="917452" y="605235"/>
                      </a:cubicBezTo>
                      <a:cubicBezTo>
                        <a:pt x="912444" y="602377"/>
                        <a:pt x="906721" y="600949"/>
                        <a:pt x="901713" y="600949"/>
                      </a:cubicBezTo>
                      <a:cubicBezTo>
                        <a:pt x="890266" y="600949"/>
                        <a:pt x="880250" y="606664"/>
                        <a:pt x="873811" y="616665"/>
                      </a:cubicBezTo>
                      <a:cubicBezTo>
                        <a:pt x="873811" y="616665"/>
                        <a:pt x="873811" y="616665"/>
                        <a:pt x="710693" y="875268"/>
                      </a:cubicBezTo>
                      <a:cubicBezTo>
                        <a:pt x="696385" y="897414"/>
                        <a:pt x="688515" y="923846"/>
                        <a:pt x="688515" y="950278"/>
                      </a:cubicBezTo>
                      <a:cubicBezTo>
                        <a:pt x="688515" y="950278"/>
                        <a:pt x="688515" y="950278"/>
                        <a:pt x="689946" y="1273175"/>
                      </a:cubicBezTo>
                      <a:cubicBezTo>
                        <a:pt x="689946" y="1273175"/>
                        <a:pt x="689946" y="1273175"/>
                        <a:pt x="956800" y="1273175"/>
                      </a:cubicBezTo>
                      <a:cubicBezTo>
                        <a:pt x="956800" y="1273175"/>
                        <a:pt x="956800" y="1273175"/>
                        <a:pt x="956800" y="1096010"/>
                      </a:cubicBezTo>
                      <a:cubicBezTo>
                        <a:pt x="956800" y="1094581"/>
                        <a:pt x="956800" y="1093153"/>
                        <a:pt x="956800" y="1091724"/>
                      </a:cubicBezTo>
                      <a:cubicBezTo>
                        <a:pt x="961808" y="1057434"/>
                        <a:pt x="974686" y="1024573"/>
                        <a:pt x="993287" y="995998"/>
                      </a:cubicBezTo>
                      <a:cubicBezTo>
                        <a:pt x="993287" y="995998"/>
                        <a:pt x="993287" y="995998"/>
                        <a:pt x="1059822" y="896700"/>
                      </a:cubicBezTo>
                      <a:cubicBezTo>
                        <a:pt x="1104894" y="828120"/>
                        <a:pt x="1136373" y="753110"/>
                        <a:pt x="1153543" y="672386"/>
                      </a:cubicBezTo>
                      <a:cubicBezTo>
                        <a:pt x="1153543" y="672386"/>
                        <a:pt x="1153543" y="672386"/>
                        <a:pt x="1156405" y="659527"/>
                      </a:cubicBezTo>
                      <a:cubicBezTo>
                        <a:pt x="1174290" y="575945"/>
                        <a:pt x="1168567" y="488792"/>
                        <a:pt x="1138519" y="408067"/>
                      </a:cubicBezTo>
                      <a:cubicBezTo>
                        <a:pt x="1138519" y="408067"/>
                        <a:pt x="1138519" y="408067"/>
                        <a:pt x="1113479" y="340916"/>
                      </a:cubicBezTo>
                      <a:cubicBezTo>
                        <a:pt x="1107756" y="325914"/>
                        <a:pt x="1093447" y="315913"/>
                        <a:pt x="1077708" y="315913"/>
                      </a:cubicBezTo>
                      <a:close/>
                      <a:moveTo>
                        <a:pt x="118348" y="315913"/>
                      </a:moveTo>
                      <a:cubicBezTo>
                        <a:pt x="102609" y="315913"/>
                        <a:pt x="88300" y="325914"/>
                        <a:pt x="82577" y="340916"/>
                      </a:cubicBezTo>
                      <a:cubicBezTo>
                        <a:pt x="82577" y="340916"/>
                        <a:pt x="82577" y="340916"/>
                        <a:pt x="57537" y="408067"/>
                      </a:cubicBezTo>
                      <a:cubicBezTo>
                        <a:pt x="27489" y="488792"/>
                        <a:pt x="21765" y="575945"/>
                        <a:pt x="39651" y="659527"/>
                      </a:cubicBezTo>
                      <a:cubicBezTo>
                        <a:pt x="39651" y="659527"/>
                        <a:pt x="39651" y="659527"/>
                        <a:pt x="42513" y="672386"/>
                      </a:cubicBezTo>
                      <a:cubicBezTo>
                        <a:pt x="59683" y="753110"/>
                        <a:pt x="91162" y="828120"/>
                        <a:pt x="136234" y="896700"/>
                      </a:cubicBezTo>
                      <a:cubicBezTo>
                        <a:pt x="136234" y="896700"/>
                        <a:pt x="136234" y="896700"/>
                        <a:pt x="202768" y="995998"/>
                      </a:cubicBezTo>
                      <a:cubicBezTo>
                        <a:pt x="221369" y="1024573"/>
                        <a:pt x="234247" y="1057434"/>
                        <a:pt x="239255" y="1091724"/>
                      </a:cubicBezTo>
                      <a:cubicBezTo>
                        <a:pt x="239255" y="1093153"/>
                        <a:pt x="239255" y="1094581"/>
                        <a:pt x="239255" y="1096010"/>
                      </a:cubicBezTo>
                      <a:cubicBezTo>
                        <a:pt x="239255" y="1096010"/>
                        <a:pt x="239255" y="1096010"/>
                        <a:pt x="239255" y="1273175"/>
                      </a:cubicBezTo>
                      <a:cubicBezTo>
                        <a:pt x="239255" y="1273175"/>
                        <a:pt x="239255" y="1273175"/>
                        <a:pt x="506109" y="1273175"/>
                      </a:cubicBezTo>
                      <a:cubicBezTo>
                        <a:pt x="506109" y="1273175"/>
                        <a:pt x="506109" y="1273175"/>
                        <a:pt x="507540" y="950278"/>
                      </a:cubicBezTo>
                      <a:cubicBezTo>
                        <a:pt x="507540" y="923846"/>
                        <a:pt x="499671" y="897414"/>
                        <a:pt x="485362" y="875268"/>
                      </a:cubicBezTo>
                      <a:cubicBezTo>
                        <a:pt x="485362" y="875268"/>
                        <a:pt x="485362" y="875268"/>
                        <a:pt x="322245" y="616665"/>
                      </a:cubicBezTo>
                      <a:cubicBezTo>
                        <a:pt x="315806" y="606664"/>
                        <a:pt x="305790" y="600949"/>
                        <a:pt x="294343" y="600949"/>
                      </a:cubicBezTo>
                      <a:cubicBezTo>
                        <a:pt x="289335" y="600949"/>
                        <a:pt x="283612" y="602377"/>
                        <a:pt x="278604" y="605235"/>
                      </a:cubicBezTo>
                      <a:cubicBezTo>
                        <a:pt x="264295" y="613807"/>
                        <a:pt x="258572" y="631667"/>
                        <a:pt x="265010" y="646669"/>
                      </a:cubicBezTo>
                      <a:cubicBezTo>
                        <a:pt x="265010" y="646669"/>
                        <a:pt x="265010" y="646669"/>
                        <a:pt x="313659" y="756682"/>
                      </a:cubicBezTo>
                      <a:cubicBezTo>
                        <a:pt x="319383" y="769541"/>
                        <a:pt x="317952" y="783829"/>
                        <a:pt x="310798" y="795973"/>
                      </a:cubicBezTo>
                      <a:cubicBezTo>
                        <a:pt x="302928" y="807403"/>
                        <a:pt x="290050" y="814547"/>
                        <a:pt x="275742" y="814547"/>
                      </a:cubicBezTo>
                      <a:cubicBezTo>
                        <a:pt x="266441" y="814547"/>
                        <a:pt x="257856" y="811689"/>
                        <a:pt x="249986" y="805260"/>
                      </a:cubicBezTo>
                      <a:cubicBezTo>
                        <a:pt x="249986" y="805260"/>
                        <a:pt x="249986" y="805260"/>
                        <a:pt x="229239" y="788829"/>
                      </a:cubicBezTo>
                      <a:cubicBezTo>
                        <a:pt x="177013" y="746681"/>
                        <a:pt x="139811" y="688817"/>
                        <a:pt x="124071" y="623809"/>
                      </a:cubicBezTo>
                      <a:cubicBezTo>
                        <a:pt x="124071" y="623809"/>
                        <a:pt x="124071" y="623809"/>
                        <a:pt x="121925" y="617379"/>
                      </a:cubicBezTo>
                      <a:cubicBezTo>
                        <a:pt x="107616" y="556657"/>
                        <a:pt x="110478" y="493792"/>
                        <a:pt x="130510" y="434499"/>
                      </a:cubicBezTo>
                      <a:cubicBezTo>
                        <a:pt x="130510" y="434499"/>
                        <a:pt x="130510" y="434499"/>
                        <a:pt x="154119" y="366634"/>
                      </a:cubicBezTo>
                      <a:cubicBezTo>
                        <a:pt x="157696" y="356632"/>
                        <a:pt x="156981" y="346631"/>
                        <a:pt x="151973" y="337344"/>
                      </a:cubicBezTo>
                      <a:cubicBezTo>
                        <a:pt x="147680" y="328057"/>
                        <a:pt x="139811" y="321628"/>
                        <a:pt x="129795" y="318056"/>
                      </a:cubicBezTo>
                      <a:cubicBezTo>
                        <a:pt x="126218" y="316627"/>
                        <a:pt x="121925" y="315913"/>
                        <a:pt x="118348" y="315913"/>
                      </a:cubicBezTo>
                      <a:close/>
                      <a:moveTo>
                        <a:pt x="1078223" y="284163"/>
                      </a:moveTo>
                      <a:cubicBezTo>
                        <a:pt x="1106785" y="284163"/>
                        <a:pt x="1133206" y="302034"/>
                        <a:pt x="1143202" y="329912"/>
                      </a:cubicBezTo>
                      <a:cubicBezTo>
                        <a:pt x="1143202" y="329912"/>
                        <a:pt x="1143202" y="329912"/>
                        <a:pt x="1168195" y="396390"/>
                      </a:cubicBezTo>
                      <a:cubicBezTo>
                        <a:pt x="1199614" y="482883"/>
                        <a:pt x="1206040" y="576524"/>
                        <a:pt x="1186760" y="665877"/>
                      </a:cubicBezTo>
                      <a:cubicBezTo>
                        <a:pt x="1186760" y="665877"/>
                        <a:pt x="1186760" y="665877"/>
                        <a:pt x="1183904" y="679458"/>
                      </a:cubicBezTo>
                      <a:cubicBezTo>
                        <a:pt x="1166767" y="763092"/>
                        <a:pt x="1133206" y="842437"/>
                        <a:pt x="1086077" y="913919"/>
                      </a:cubicBezTo>
                      <a:cubicBezTo>
                        <a:pt x="1086077" y="913919"/>
                        <a:pt x="1086077" y="913919"/>
                        <a:pt x="1020383" y="1013279"/>
                      </a:cubicBezTo>
                      <a:cubicBezTo>
                        <a:pt x="1003960" y="1038298"/>
                        <a:pt x="993249" y="1066890"/>
                        <a:pt x="988964" y="1096198"/>
                      </a:cubicBezTo>
                      <a:cubicBezTo>
                        <a:pt x="988964" y="1096198"/>
                        <a:pt x="988964" y="1096198"/>
                        <a:pt x="989678" y="1289199"/>
                      </a:cubicBezTo>
                      <a:cubicBezTo>
                        <a:pt x="989678" y="1297777"/>
                        <a:pt x="982538" y="1304925"/>
                        <a:pt x="973969" y="1304925"/>
                      </a:cubicBezTo>
                      <a:cubicBezTo>
                        <a:pt x="973969" y="1304925"/>
                        <a:pt x="973969" y="1304925"/>
                        <a:pt x="667635" y="1304925"/>
                      </a:cubicBezTo>
                      <a:cubicBezTo>
                        <a:pt x="662637" y="1302066"/>
                        <a:pt x="659780" y="1296347"/>
                        <a:pt x="659780" y="1291344"/>
                      </a:cubicBezTo>
                      <a:cubicBezTo>
                        <a:pt x="659780" y="1291344"/>
                        <a:pt x="659780" y="1291344"/>
                        <a:pt x="658352" y="950375"/>
                      </a:cubicBezTo>
                      <a:cubicBezTo>
                        <a:pt x="658352" y="917493"/>
                        <a:pt x="667635" y="886041"/>
                        <a:pt x="684773" y="858163"/>
                      </a:cubicBezTo>
                      <a:cubicBezTo>
                        <a:pt x="684773" y="858163"/>
                        <a:pt x="684773" y="858163"/>
                        <a:pt x="849008" y="599398"/>
                      </a:cubicBezTo>
                      <a:cubicBezTo>
                        <a:pt x="860433" y="580098"/>
                        <a:pt x="881141" y="569376"/>
                        <a:pt x="902563" y="569376"/>
                      </a:cubicBezTo>
                      <a:cubicBezTo>
                        <a:pt x="912559" y="569376"/>
                        <a:pt x="923984" y="572235"/>
                        <a:pt x="933267" y="577954"/>
                      </a:cubicBezTo>
                      <a:cubicBezTo>
                        <a:pt x="961830" y="594395"/>
                        <a:pt x="973969" y="629421"/>
                        <a:pt x="960402" y="659443"/>
                      </a:cubicBezTo>
                      <a:cubicBezTo>
                        <a:pt x="960402" y="659443"/>
                        <a:pt x="960402" y="659443"/>
                        <a:pt x="911845" y="769525"/>
                      </a:cubicBezTo>
                      <a:cubicBezTo>
                        <a:pt x="908989" y="776674"/>
                        <a:pt x="914702" y="783107"/>
                        <a:pt x="921128" y="783107"/>
                      </a:cubicBezTo>
                      <a:cubicBezTo>
                        <a:pt x="922556" y="783107"/>
                        <a:pt x="924699" y="782392"/>
                        <a:pt x="926841" y="780963"/>
                      </a:cubicBezTo>
                      <a:cubicBezTo>
                        <a:pt x="926841" y="780963"/>
                        <a:pt x="926841" y="780963"/>
                        <a:pt x="948263" y="763807"/>
                      </a:cubicBezTo>
                      <a:cubicBezTo>
                        <a:pt x="994677" y="726636"/>
                        <a:pt x="1028238" y="674454"/>
                        <a:pt x="1042519" y="616554"/>
                      </a:cubicBezTo>
                      <a:cubicBezTo>
                        <a:pt x="1042519" y="616554"/>
                        <a:pt x="1042519" y="616554"/>
                        <a:pt x="1043947" y="609406"/>
                      </a:cubicBezTo>
                      <a:cubicBezTo>
                        <a:pt x="1057515" y="555080"/>
                        <a:pt x="1054658" y="497894"/>
                        <a:pt x="1036093" y="444997"/>
                      </a:cubicBezTo>
                      <a:cubicBezTo>
                        <a:pt x="1036093" y="444997"/>
                        <a:pt x="1036093" y="444997"/>
                        <a:pt x="1013243" y="376375"/>
                      </a:cubicBezTo>
                      <a:cubicBezTo>
                        <a:pt x="1000389" y="339919"/>
                        <a:pt x="1019669" y="299889"/>
                        <a:pt x="1056801" y="287737"/>
                      </a:cubicBezTo>
                      <a:cubicBezTo>
                        <a:pt x="1063941" y="285593"/>
                        <a:pt x="1071082" y="284163"/>
                        <a:pt x="1078223" y="284163"/>
                      </a:cubicBezTo>
                      <a:close/>
                      <a:moveTo>
                        <a:pt x="119420" y="284163"/>
                      </a:moveTo>
                      <a:cubicBezTo>
                        <a:pt x="126561" y="284163"/>
                        <a:pt x="133701" y="285593"/>
                        <a:pt x="140842" y="287737"/>
                      </a:cubicBezTo>
                      <a:cubicBezTo>
                        <a:pt x="177973" y="299889"/>
                        <a:pt x="197253" y="339919"/>
                        <a:pt x="184400" y="376375"/>
                      </a:cubicBezTo>
                      <a:cubicBezTo>
                        <a:pt x="184400" y="376375"/>
                        <a:pt x="184400" y="376375"/>
                        <a:pt x="161550" y="444997"/>
                      </a:cubicBezTo>
                      <a:cubicBezTo>
                        <a:pt x="142984" y="497894"/>
                        <a:pt x="140128" y="555080"/>
                        <a:pt x="153695" y="609406"/>
                      </a:cubicBezTo>
                      <a:cubicBezTo>
                        <a:pt x="153695" y="609406"/>
                        <a:pt x="153695" y="609406"/>
                        <a:pt x="155123" y="616554"/>
                      </a:cubicBezTo>
                      <a:cubicBezTo>
                        <a:pt x="169404" y="674454"/>
                        <a:pt x="202966" y="726636"/>
                        <a:pt x="249380" y="763807"/>
                      </a:cubicBezTo>
                      <a:cubicBezTo>
                        <a:pt x="249380" y="763807"/>
                        <a:pt x="249380" y="763807"/>
                        <a:pt x="270802" y="780963"/>
                      </a:cubicBezTo>
                      <a:cubicBezTo>
                        <a:pt x="272944" y="782392"/>
                        <a:pt x="275086" y="783107"/>
                        <a:pt x="276514" y="783107"/>
                      </a:cubicBezTo>
                      <a:cubicBezTo>
                        <a:pt x="282941" y="783107"/>
                        <a:pt x="288653" y="776674"/>
                        <a:pt x="285797" y="769525"/>
                      </a:cubicBezTo>
                      <a:cubicBezTo>
                        <a:pt x="285797" y="769525"/>
                        <a:pt x="285797" y="769525"/>
                        <a:pt x="237241" y="659443"/>
                      </a:cubicBezTo>
                      <a:cubicBezTo>
                        <a:pt x="223673" y="629421"/>
                        <a:pt x="235813" y="594395"/>
                        <a:pt x="264375" y="577954"/>
                      </a:cubicBezTo>
                      <a:cubicBezTo>
                        <a:pt x="273658" y="572235"/>
                        <a:pt x="285083" y="569376"/>
                        <a:pt x="295080" y="569376"/>
                      </a:cubicBezTo>
                      <a:cubicBezTo>
                        <a:pt x="316502" y="569376"/>
                        <a:pt x="337210" y="580098"/>
                        <a:pt x="348635" y="599398"/>
                      </a:cubicBezTo>
                      <a:cubicBezTo>
                        <a:pt x="348635" y="599398"/>
                        <a:pt x="348635" y="599398"/>
                        <a:pt x="512870" y="858163"/>
                      </a:cubicBezTo>
                      <a:cubicBezTo>
                        <a:pt x="530007" y="886041"/>
                        <a:pt x="539290" y="917493"/>
                        <a:pt x="539290" y="950375"/>
                      </a:cubicBezTo>
                      <a:cubicBezTo>
                        <a:pt x="539290" y="950375"/>
                        <a:pt x="539290" y="950375"/>
                        <a:pt x="537862" y="1291344"/>
                      </a:cubicBezTo>
                      <a:cubicBezTo>
                        <a:pt x="537862" y="1296347"/>
                        <a:pt x="535006" y="1302066"/>
                        <a:pt x="530007" y="1304925"/>
                      </a:cubicBezTo>
                      <a:cubicBezTo>
                        <a:pt x="530007" y="1304925"/>
                        <a:pt x="530007" y="1304925"/>
                        <a:pt x="224387" y="1304925"/>
                      </a:cubicBezTo>
                      <a:cubicBezTo>
                        <a:pt x="223673" y="1304925"/>
                        <a:pt x="223673" y="1304925"/>
                        <a:pt x="223673" y="1304925"/>
                      </a:cubicBezTo>
                      <a:cubicBezTo>
                        <a:pt x="215105" y="1304925"/>
                        <a:pt x="207964" y="1297777"/>
                        <a:pt x="207964" y="1289199"/>
                      </a:cubicBezTo>
                      <a:cubicBezTo>
                        <a:pt x="207964" y="1289199"/>
                        <a:pt x="207964" y="1289199"/>
                        <a:pt x="208678" y="1096198"/>
                      </a:cubicBezTo>
                      <a:cubicBezTo>
                        <a:pt x="204394" y="1066890"/>
                        <a:pt x="193683" y="1038298"/>
                        <a:pt x="177259" y="1013279"/>
                      </a:cubicBezTo>
                      <a:cubicBezTo>
                        <a:pt x="177259" y="1013279"/>
                        <a:pt x="177259" y="1013279"/>
                        <a:pt x="111565" y="913919"/>
                      </a:cubicBezTo>
                      <a:cubicBezTo>
                        <a:pt x="64437" y="842437"/>
                        <a:pt x="30876" y="763092"/>
                        <a:pt x="13738" y="679458"/>
                      </a:cubicBezTo>
                      <a:cubicBezTo>
                        <a:pt x="13738" y="679458"/>
                        <a:pt x="13738" y="679458"/>
                        <a:pt x="10882" y="665877"/>
                      </a:cubicBezTo>
                      <a:cubicBezTo>
                        <a:pt x="-8398" y="576524"/>
                        <a:pt x="-1971" y="482883"/>
                        <a:pt x="29448" y="396390"/>
                      </a:cubicBezTo>
                      <a:cubicBezTo>
                        <a:pt x="29448" y="396390"/>
                        <a:pt x="29448" y="396390"/>
                        <a:pt x="54440" y="329912"/>
                      </a:cubicBezTo>
                      <a:cubicBezTo>
                        <a:pt x="64437" y="302034"/>
                        <a:pt x="90857" y="284163"/>
                        <a:pt x="119420" y="284163"/>
                      </a:cubicBezTo>
                      <a:close/>
                      <a:moveTo>
                        <a:pt x="586062" y="84138"/>
                      </a:moveTo>
                      <a:cubicBezTo>
                        <a:pt x="611739" y="84138"/>
                        <a:pt x="611739" y="84138"/>
                        <a:pt x="611739" y="84138"/>
                      </a:cubicBezTo>
                      <a:cubicBezTo>
                        <a:pt x="611739" y="102626"/>
                        <a:pt x="611739" y="102626"/>
                        <a:pt x="611739" y="102626"/>
                      </a:cubicBezTo>
                      <a:cubicBezTo>
                        <a:pt x="624577" y="104048"/>
                        <a:pt x="635988" y="106892"/>
                        <a:pt x="641694" y="112581"/>
                      </a:cubicBezTo>
                      <a:cubicBezTo>
                        <a:pt x="633849" y="136046"/>
                        <a:pt x="633849" y="136046"/>
                        <a:pt x="633849" y="136046"/>
                      </a:cubicBezTo>
                      <a:cubicBezTo>
                        <a:pt x="623150" y="128935"/>
                        <a:pt x="611739" y="125380"/>
                        <a:pt x="600327" y="125380"/>
                      </a:cubicBezTo>
                      <a:cubicBezTo>
                        <a:pt x="593908" y="125380"/>
                        <a:pt x="588915" y="127513"/>
                        <a:pt x="585349" y="130357"/>
                      </a:cubicBezTo>
                      <a:cubicBezTo>
                        <a:pt x="581070" y="133913"/>
                        <a:pt x="579643" y="138890"/>
                        <a:pt x="579643" y="144579"/>
                      </a:cubicBezTo>
                      <a:cubicBezTo>
                        <a:pt x="579643" y="153112"/>
                        <a:pt x="589629" y="163066"/>
                        <a:pt x="611025" y="172310"/>
                      </a:cubicBezTo>
                      <a:cubicBezTo>
                        <a:pt x="621724" y="177999"/>
                        <a:pt x="630282" y="183687"/>
                        <a:pt x="635275" y="187954"/>
                      </a:cubicBezTo>
                      <a:cubicBezTo>
                        <a:pt x="639554" y="192220"/>
                        <a:pt x="642407" y="197198"/>
                        <a:pt x="645260" y="202886"/>
                      </a:cubicBezTo>
                      <a:cubicBezTo>
                        <a:pt x="647400" y="209286"/>
                        <a:pt x="648826" y="214974"/>
                        <a:pt x="648826" y="222085"/>
                      </a:cubicBezTo>
                      <a:cubicBezTo>
                        <a:pt x="648826" y="232751"/>
                        <a:pt x="645973" y="241284"/>
                        <a:pt x="638841" y="249105"/>
                      </a:cubicBezTo>
                      <a:cubicBezTo>
                        <a:pt x="633135" y="256216"/>
                        <a:pt x="623150" y="261905"/>
                        <a:pt x="611739" y="264749"/>
                      </a:cubicBezTo>
                      <a:cubicBezTo>
                        <a:pt x="611739" y="288925"/>
                        <a:pt x="611739" y="288925"/>
                        <a:pt x="611739" y="288925"/>
                      </a:cubicBezTo>
                      <a:cubicBezTo>
                        <a:pt x="586062" y="288925"/>
                        <a:pt x="586062" y="288925"/>
                        <a:pt x="586062" y="288925"/>
                      </a:cubicBezTo>
                      <a:cubicBezTo>
                        <a:pt x="586062" y="266171"/>
                        <a:pt x="586062" y="266171"/>
                        <a:pt x="586062" y="266171"/>
                      </a:cubicBezTo>
                      <a:cubicBezTo>
                        <a:pt x="573224" y="266171"/>
                        <a:pt x="561813" y="261905"/>
                        <a:pt x="550401" y="254794"/>
                      </a:cubicBezTo>
                      <a:cubicBezTo>
                        <a:pt x="561813" y="229907"/>
                        <a:pt x="561813" y="229907"/>
                        <a:pt x="561813" y="229907"/>
                      </a:cubicBezTo>
                      <a:cubicBezTo>
                        <a:pt x="572511" y="237728"/>
                        <a:pt x="583923" y="241284"/>
                        <a:pt x="594621" y="241284"/>
                      </a:cubicBezTo>
                      <a:cubicBezTo>
                        <a:pt x="611739" y="241284"/>
                        <a:pt x="620297" y="235595"/>
                        <a:pt x="620297" y="224218"/>
                      </a:cubicBezTo>
                      <a:cubicBezTo>
                        <a:pt x="620297" y="218530"/>
                        <a:pt x="618158" y="213552"/>
                        <a:pt x="613878" y="208575"/>
                      </a:cubicBezTo>
                      <a:cubicBezTo>
                        <a:pt x="609599" y="203597"/>
                        <a:pt x="601040" y="197909"/>
                        <a:pt x="588915" y="191509"/>
                      </a:cubicBezTo>
                      <a:cubicBezTo>
                        <a:pt x="576791" y="185821"/>
                        <a:pt x="569658" y="180843"/>
                        <a:pt x="564666" y="177288"/>
                      </a:cubicBezTo>
                      <a:cubicBezTo>
                        <a:pt x="560386" y="172310"/>
                        <a:pt x="557533" y="168044"/>
                        <a:pt x="553967" y="162355"/>
                      </a:cubicBezTo>
                      <a:cubicBezTo>
                        <a:pt x="551828" y="156667"/>
                        <a:pt x="551114" y="150978"/>
                        <a:pt x="551114" y="144579"/>
                      </a:cubicBezTo>
                      <a:cubicBezTo>
                        <a:pt x="551114" y="133913"/>
                        <a:pt x="553967" y="125380"/>
                        <a:pt x="561100" y="118980"/>
                      </a:cubicBezTo>
                      <a:cubicBezTo>
                        <a:pt x="567519" y="111870"/>
                        <a:pt x="575364" y="106892"/>
                        <a:pt x="586062" y="104048"/>
                      </a:cubicBezTo>
                      <a:cubicBezTo>
                        <a:pt x="586062" y="84138"/>
                        <a:pt x="586062" y="84138"/>
                        <a:pt x="586062" y="84138"/>
                      </a:cubicBezTo>
                      <a:close/>
                      <a:moveTo>
                        <a:pt x="248776" y="31750"/>
                      </a:moveTo>
                      <a:cubicBezTo>
                        <a:pt x="248776" y="31750"/>
                        <a:pt x="248776" y="31750"/>
                        <a:pt x="248776" y="341312"/>
                      </a:cubicBezTo>
                      <a:cubicBezTo>
                        <a:pt x="248776" y="341312"/>
                        <a:pt x="248776" y="341312"/>
                        <a:pt x="947276" y="341312"/>
                      </a:cubicBezTo>
                      <a:cubicBezTo>
                        <a:pt x="947276" y="341312"/>
                        <a:pt x="947276" y="341312"/>
                        <a:pt x="947276" y="31750"/>
                      </a:cubicBezTo>
                      <a:cubicBezTo>
                        <a:pt x="947276" y="31750"/>
                        <a:pt x="947276" y="31750"/>
                        <a:pt x="248776" y="31750"/>
                      </a:cubicBezTo>
                      <a:close/>
                      <a:moveTo>
                        <a:pt x="226319" y="0"/>
                      </a:moveTo>
                      <a:cubicBezTo>
                        <a:pt x="969734" y="0"/>
                        <a:pt x="969734" y="0"/>
                        <a:pt x="969734" y="0"/>
                      </a:cubicBezTo>
                      <a:cubicBezTo>
                        <a:pt x="975452" y="0"/>
                        <a:pt x="979026" y="3574"/>
                        <a:pt x="979026" y="8576"/>
                      </a:cubicBezTo>
                      <a:cubicBezTo>
                        <a:pt x="979026" y="363771"/>
                        <a:pt x="979026" y="363771"/>
                        <a:pt x="979026" y="363771"/>
                      </a:cubicBezTo>
                      <a:cubicBezTo>
                        <a:pt x="979026" y="368774"/>
                        <a:pt x="975452" y="373062"/>
                        <a:pt x="969734" y="373062"/>
                      </a:cubicBezTo>
                      <a:cubicBezTo>
                        <a:pt x="226319" y="373062"/>
                        <a:pt x="226319" y="373062"/>
                        <a:pt x="226319" y="373062"/>
                      </a:cubicBezTo>
                      <a:cubicBezTo>
                        <a:pt x="221315" y="373062"/>
                        <a:pt x="217026" y="368774"/>
                        <a:pt x="217026" y="363771"/>
                      </a:cubicBezTo>
                      <a:cubicBezTo>
                        <a:pt x="217026" y="8576"/>
                        <a:pt x="217026" y="8576"/>
                        <a:pt x="217026" y="8576"/>
                      </a:cubicBezTo>
                      <a:cubicBezTo>
                        <a:pt x="217026" y="3574"/>
                        <a:pt x="221315" y="0"/>
                        <a:pt x="226319" y="0"/>
                      </a:cubicBezTo>
                      <a:close/>
                    </a:path>
                  </a:pathLst>
                </a:custGeom>
                <a:solidFill>
                  <a:srgbClr val="2949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26663" tIns="13332" rIns="26663" bIns="13332" numCol="1" anchor="t" anchorCtr="0" compatLnSpc="1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75" name="bcgIcons_Syringe ">
            <a:extLst>
              <a:ext uri="{FF2B5EF4-FFF2-40B4-BE49-F238E27FC236}">
                <a16:creationId xmlns:a16="http://schemas.microsoft.com/office/drawing/2014/main" id="{1ABA5628-1B71-2ACA-6F7B-56EF45C402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74166" y="1872708"/>
            <a:ext cx="449519" cy="424522"/>
            <a:chOff x="1682" y="0"/>
            <a:chExt cx="4316" cy="4320"/>
          </a:xfrm>
        </p:grpSpPr>
        <p:sp>
          <p:nvSpPr>
            <p:cNvPr id="76" name="AutoShape 18">
              <a:extLst>
                <a:ext uri="{FF2B5EF4-FFF2-40B4-BE49-F238E27FC236}">
                  <a16:creationId xmlns:a16="http://schemas.microsoft.com/office/drawing/2014/main" id="{F9FC4AF4-9228-645C-E12F-F8D406470D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7" name="Freeform 20">
              <a:extLst>
                <a:ext uri="{FF2B5EF4-FFF2-40B4-BE49-F238E27FC236}">
                  <a16:creationId xmlns:a16="http://schemas.microsoft.com/office/drawing/2014/main" id="{D2D2C79A-32CE-DAF5-6164-FA6505275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6" y="501"/>
              <a:ext cx="3377" cy="3371"/>
            </a:xfrm>
            <a:custGeom>
              <a:avLst/>
              <a:gdLst>
                <a:gd name="T0" fmla="*/ 1470 w 1803"/>
                <a:gd name="T1" fmla="*/ 833 h 1798"/>
                <a:gd name="T2" fmla="*/ 1438 w 1803"/>
                <a:gd name="T3" fmla="*/ 833 h 1798"/>
                <a:gd name="T4" fmla="*/ 972 w 1803"/>
                <a:gd name="T5" fmla="*/ 335 h 1798"/>
                <a:gd name="T6" fmla="*/ 1470 w 1803"/>
                <a:gd name="T7" fmla="*/ 802 h 1798"/>
                <a:gd name="T8" fmla="*/ 730 w 1803"/>
                <a:gd name="T9" fmla="*/ 1353 h 1798"/>
                <a:gd name="T10" fmla="*/ 462 w 1803"/>
                <a:gd name="T11" fmla="*/ 1107 h 1798"/>
                <a:gd name="T12" fmla="*/ 1019 w 1803"/>
                <a:gd name="T13" fmla="*/ 476 h 1798"/>
                <a:gd name="T14" fmla="*/ 431 w 1803"/>
                <a:gd name="T15" fmla="*/ 1002 h 1798"/>
                <a:gd name="T16" fmla="*/ 662 w 1803"/>
                <a:gd name="T17" fmla="*/ 1369 h 1798"/>
                <a:gd name="T18" fmla="*/ 798 w 1803"/>
                <a:gd name="T19" fmla="*/ 1369 h 1798"/>
                <a:gd name="T20" fmla="*/ 1324 w 1803"/>
                <a:gd name="T21" fmla="*/ 781 h 1798"/>
                <a:gd name="T22" fmla="*/ 1794 w 1803"/>
                <a:gd name="T23" fmla="*/ 386 h 1798"/>
                <a:gd name="T24" fmla="*/ 1385 w 1803"/>
                <a:gd name="T25" fmla="*/ 8 h 1798"/>
                <a:gd name="T26" fmla="*/ 1763 w 1803"/>
                <a:gd name="T27" fmla="*/ 417 h 1798"/>
                <a:gd name="T28" fmla="*/ 1794 w 1803"/>
                <a:gd name="T29" fmla="*/ 417 h 1798"/>
                <a:gd name="T30" fmla="*/ 479 w 1803"/>
                <a:gd name="T31" fmla="*/ 1400 h 1798"/>
                <a:gd name="T32" fmla="*/ 474 w 1803"/>
                <a:gd name="T33" fmla="*/ 1400 h 1798"/>
                <a:gd name="T34" fmla="*/ 399 w 1803"/>
                <a:gd name="T35" fmla="*/ 1324 h 1798"/>
                <a:gd name="T36" fmla="*/ 472 w 1803"/>
                <a:gd name="T37" fmla="*/ 1249 h 1798"/>
                <a:gd name="T38" fmla="*/ 369 w 1803"/>
                <a:gd name="T39" fmla="*/ 1290 h 1798"/>
                <a:gd name="T40" fmla="*/ 443 w 1803"/>
                <a:gd name="T41" fmla="*/ 1431 h 1798"/>
                <a:gd name="T42" fmla="*/ 510 w 1803"/>
                <a:gd name="T43" fmla="*/ 1431 h 1798"/>
                <a:gd name="T44" fmla="*/ 551 w 1803"/>
                <a:gd name="T45" fmla="*/ 1328 h 1798"/>
                <a:gd name="T46" fmla="*/ 8 w 1803"/>
                <a:gd name="T47" fmla="*/ 1761 h 1798"/>
                <a:gd name="T48" fmla="*/ 24 w 1803"/>
                <a:gd name="T49" fmla="*/ 1798 h 1798"/>
                <a:gd name="T50" fmla="*/ 385 w 1803"/>
                <a:gd name="T51" fmla="*/ 1446 h 1798"/>
                <a:gd name="T52" fmla="*/ 8 w 1803"/>
                <a:gd name="T53" fmla="*/ 1761 h 1798"/>
                <a:gd name="T54" fmla="*/ 1336 w 1803"/>
                <a:gd name="T55" fmla="*/ 606 h 1798"/>
                <a:gd name="T56" fmla="*/ 1582 w 1803"/>
                <a:gd name="T57" fmla="*/ 298 h 1798"/>
                <a:gd name="T58" fmla="*/ 1472 w 1803"/>
                <a:gd name="T59" fmla="*/ 188 h 1798"/>
                <a:gd name="T60" fmla="*/ 1226 w 1803"/>
                <a:gd name="T61" fmla="*/ 496 h 1798"/>
                <a:gd name="T62" fmla="*/ 1472 w 1803"/>
                <a:gd name="T63" fmla="*/ 188 h 1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3" h="1798">
                  <a:moveTo>
                    <a:pt x="1470" y="802"/>
                  </a:moveTo>
                  <a:cubicBezTo>
                    <a:pt x="1478" y="810"/>
                    <a:pt x="1478" y="824"/>
                    <a:pt x="1470" y="833"/>
                  </a:cubicBezTo>
                  <a:cubicBezTo>
                    <a:pt x="1465" y="837"/>
                    <a:pt x="1460" y="839"/>
                    <a:pt x="1454" y="839"/>
                  </a:cubicBezTo>
                  <a:cubicBezTo>
                    <a:pt x="1448" y="839"/>
                    <a:pt x="1443" y="837"/>
                    <a:pt x="1438" y="833"/>
                  </a:cubicBezTo>
                  <a:cubicBezTo>
                    <a:pt x="972" y="366"/>
                    <a:pt x="972" y="366"/>
                    <a:pt x="972" y="366"/>
                  </a:cubicBezTo>
                  <a:cubicBezTo>
                    <a:pt x="963" y="357"/>
                    <a:pt x="963" y="343"/>
                    <a:pt x="972" y="335"/>
                  </a:cubicBezTo>
                  <a:cubicBezTo>
                    <a:pt x="980" y="326"/>
                    <a:pt x="994" y="326"/>
                    <a:pt x="1003" y="335"/>
                  </a:cubicBezTo>
                  <a:lnTo>
                    <a:pt x="1470" y="802"/>
                  </a:lnTo>
                  <a:close/>
                  <a:moveTo>
                    <a:pt x="767" y="1338"/>
                  </a:moveTo>
                  <a:cubicBezTo>
                    <a:pt x="757" y="1348"/>
                    <a:pt x="744" y="1353"/>
                    <a:pt x="730" y="1353"/>
                  </a:cubicBezTo>
                  <a:cubicBezTo>
                    <a:pt x="716" y="1353"/>
                    <a:pt x="703" y="1348"/>
                    <a:pt x="693" y="1338"/>
                  </a:cubicBezTo>
                  <a:cubicBezTo>
                    <a:pt x="462" y="1107"/>
                    <a:pt x="462" y="1107"/>
                    <a:pt x="462" y="1107"/>
                  </a:cubicBezTo>
                  <a:cubicBezTo>
                    <a:pt x="442" y="1087"/>
                    <a:pt x="442" y="1054"/>
                    <a:pt x="462" y="1033"/>
                  </a:cubicBezTo>
                  <a:cubicBezTo>
                    <a:pt x="1019" y="476"/>
                    <a:pt x="1019" y="476"/>
                    <a:pt x="1019" y="476"/>
                  </a:cubicBezTo>
                  <a:cubicBezTo>
                    <a:pt x="988" y="445"/>
                    <a:pt x="988" y="445"/>
                    <a:pt x="988" y="445"/>
                  </a:cubicBezTo>
                  <a:cubicBezTo>
                    <a:pt x="431" y="1002"/>
                    <a:pt x="431" y="1002"/>
                    <a:pt x="431" y="1002"/>
                  </a:cubicBezTo>
                  <a:cubicBezTo>
                    <a:pt x="393" y="1040"/>
                    <a:pt x="393" y="1101"/>
                    <a:pt x="431" y="1138"/>
                  </a:cubicBezTo>
                  <a:cubicBezTo>
                    <a:pt x="662" y="1369"/>
                    <a:pt x="662" y="1369"/>
                    <a:pt x="662" y="1369"/>
                  </a:cubicBezTo>
                  <a:cubicBezTo>
                    <a:pt x="680" y="1387"/>
                    <a:pt x="704" y="1397"/>
                    <a:pt x="730" y="1397"/>
                  </a:cubicBezTo>
                  <a:cubicBezTo>
                    <a:pt x="755" y="1397"/>
                    <a:pt x="780" y="1387"/>
                    <a:pt x="798" y="1369"/>
                  </a:cubicBezTo>
                  <a:cubicBezTo>
                    <a:pt x="1355" y="812"/>
                    <a:pt x="1355" y="812"/>
                    <a:pt x="1355" y="812"/>
                  </a:cubicBezTo>
                  <a:cubicBezTo>
                    <a:pt x="1324" y="781"/>
                    <a:pt x="1324" y="781"/>
                    <a:pt x="1324" y="781"/>
                  </a:cubicBezTo>
                  <a:lnTo>
                    <a:pt x="767" y="1338"/>
                  </a:lnTo>
                  <a:close/>
                  <a:moveTo>
                    <a:pt x="1794" y="386"/>
                  </a:moveTo>
                  <a:cubicBezTo>
                    <a:pt x="1416" y="8"/>
                    <a:pt x="1416" y="8"/>
                    <a:pt x="1416" y="8"/>
                  </a:cubicBezTo>
                  <a:cubicBezTo>
                    <a:pt x="1408" y="0"/>
                    <a:pt x="1394" y="0"/>
                    <a:pt x="1385" y="8"/>
                  </a:cubicBezTo>
                  <a:cubicBezTo>
                    <a:pt x="1377" y="17"/>
                    <a:pt x="1377" y="31"/>
                    <a:pt x="1385" y="39"/>
                  </a:cubicBezTo>
                  <a:cubicBezTo>
                    <a:pt x="1763" y="417"/>
                    <a:pt x="1763" y="417"/>
                    <a:pt x="1763" y="417"/>
                  </a:cubicBezTo>
                  <a:cubicBezTo>
                    <a:pt x="1767" y="421"/>
                    <a:pt x="1773" y="423"/>
                    <a:pt x="1778" y="423"/>
                  </a:cubicBezTo>
                  <a:cubicBezTo>
                    <a:pt x="1784" y="423"/>
                    <a:pt x="1790" y="421"/>
                    <a:pt x="1794" y="417"/>
                  </a:cubicBezTo>
                  <a:cubicBezTo>
                    <a:pt x="1803" y="408"/>
                    <a:pt x="1803" y="394"/>
                    <a:pt x="1794" y="386"/>
                  </a:cubicBezTo>
                  <a:close/>
                  <a:moveTo>
                    <a:pt x="479" y="1400"/>
                  </a:moveTo>
                  <a:cubicBezTo>
                    <a:pt x="478" y="1401"/>
                    <a:pt x="477" y="1401"/>
                    <a:pt x="476" y="1401"/>
                  </a:cubicBezTo>
                  <a:cubicBezTo>
                    <a:pt x="476" y="1401"/>
                    <a:pt x="475" y="1401"/>
                    <a:pt x="474" y="1400"/>
                  </a:cubicBezTo>
                  <a:cubicBezTo>
                    <a:pt x="400" y="1326"/>
                    <a:pt x="400" y="1326"/>
                    <a:pt x="400" y="1326"/>
                  </a:cubicBezTo>
                  <a:cubicBezTo>
                    <a:pt x="399" y="1325"/>
                    <a:pt x="399" y="1324"/>
                    <a:pt x="399" y="1324"/>
                  </a:cubicBezTo>
                  <a:cubicBezTo>
                    <a:pt x="399" y="1323"/>
                    <a:pt x="399" y="1322"/>
                    <a:pt x="400" y="1321"/>
                  </a:cubicBezTo>
                  <a:cubicBezTo>
                    <a:pt x="472" y="1249"/>
                    <a:pt x="472" y="1249"/>
                    <a:pt x="472" y="1249"/>
                  </a:cubicBezTo>
                  <a:cubicBezTo>
                    <a:pt x="441" y="1218"/>
                    <a:pt x="441" y="1218"/>
                    <a:pt x="441" y="1218"/>
                  </a:cubicBezTo>
                  <a:cubicBezTo>
                    <a:pt x="369" y="1290"/>
                    <a:pt x="369" y="1290"/>
                    <a:pt x="369" y="1290"/>
                  </a:cubicBezTo>
                  <a:cubicBezTo>
                    <a:pt x="350" y="1309"/>
                    <a:pt x="350" y="1339"/>
                    <a:pt x="369" y="1357"/>
                  </a:cubicBezTo>
                  <a:cubicBezTo>
                    <a:pt x="443" y="1431"/>
                    <a:pt x="443" y="1431"/>
                    <a:pt x="443" y="1431"/>
                  </a:cubicBezTo>
                  <a:cubicBezTo>
                    <a:pt x="452" y="1440"/>
                    <a:pt x="464" y="1445"/>
                    <a:pt x="476" y="1445"/>
                  </a:cubicBezTo>
                  <a:cubicBezTo>
                    <a:pt x="488" y="1445"/>
                    <a:pt x="501" y="1440"/>
                    <a:pt x="510" y="1431"/>
                  </a:cubicBezTo>
                  <a:cubicBezTo>
                    <a:pt x="582" y="1359"/>
                    <a:pt x="582" y="1359"/>
                    <a:pt x="582" y="1359"/>
                  </a:cubicBezTo>
                  <a:cubicBezTo>
                    <a:pt x="551" y="1328"/>
                    <a:pt x="551" y="1328"/>
                    <a:pt x="551" y="1328"/>
                  </a:cubicBezTo>
                  <a:lnTo>
                    <a:pt x="479" y="1400"/>
                  </a:lnTo>
                  <a:close/>
                  <a:moveTo>
                    <a:pt x="8" y="1761"/>
                  </a:moveTo>
                  <a:cubicBezTo>
                    <a:pt x="0" y="1769"/>
                    <a:pt x="0" y="1783"/>
                    <a:pt x="8" y="1792"/>
                  </a:cubicBezTo>
                  <a:cubicBezTo>
                    <a:pt x="13" y="1796"/>
                    <a:pt x="18" y="1798"/>
                    <a:pt x="24" y="1798"/>
                  </a:cubicBezTo>
                  <a:cubicBezTo>
                    <a:pt x="29" y="1798"/>
                    <a:pt x="35" y="1796"/>
                    <a:pt x="39" y="1792"/>
                  </a:cubicBezTo>
                  <a:cubicBezTo>
                    <a:pt x="385" y="1446"/>
                    <a:pt x="385" y="1446"/>
                    <a:pt x="385" y="1446"/>
                  </a:cubicBezTo>
                  <a:cubicBezTo>
                    <a:pt x="354" y="1415"/>
                    <a:pt x="354" y="1415"/>
                    <a:pt x="354" y="1415"/>
                  </a:cubicBezTo>
                  <a:lnTo>
                    <a:pt x="8" y="1761"/>
                  </a:lnTo>
                  <a:close/>
                  <a:moveTo>
                    <a:pt x="1305" y="575"/>
                  </a:moveTo>
                  <a:cubicBezTo>
                    <a:pt x="1336" y="606"/>
                    <a:pt x="1336" y="606"/>
                    <a:pt x="1336" y="606"/>
                  </a:cubicBezTo>
                  <a:cubicBezTo>
                    <a:pt x="1613" y="329"/>
                    <a:pt x="1613" y="329"/>
                    <a:pt x="1613" y="329"/>
                  </a:cubicBezTo>
                  <a:cubicBezTo>
                    <a:pt x="1582" y="298"/>
                    <a:pt x="1582" y="298"/>
                    <a:pt x="1582" y="298"/>
                  </a:cubicBezTo>
                  <a:lnTo>
                    <a:pt x="1305" y="575"/>
                  </a:lnTo>
                  <a:close/>
                  <a:moveTo>
                    <a:pt x="1472" y="188"/>
                  </a:moveTo>
                  <a:cubicBezTo>
                    <a:pt x="1195" y="465"/>
                    <a:pt x="1195" y="465"/>
                    <a:pt x="1195" y="465"/>
                  </a:cubicBezTo>
                  <a:cubicBezTo>
                    <a:pt x="1226" y="496"/>
                    <a:pt x="1226" y="496"/>
                    <a:pt x="1226" y="496"/>
                  </a:cubicBezTo>
                  <a:cubicBezTo>
                    <a:pt x="1503" y="219"/>
                    <a:pt x="1503" y="219"/>
                    <a:pt x="1503" y="219"/>
                  </a:cubicBezTo>
                  <a:lnTo>
                    <a:pt x="1472" y="188"/>
                  </a:lnTo>
                  <a:close/>
                </a:path>
              </a:pathLst>
            </a:custGeom>
            <a:solidFill>
              <a:srgbClr val="2B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21">
              <a:extLst>
                <a:ext uri="{FF2B5EF4-FFF2-40B4-BE49-F238E27FC236}">
                  <a16:creationId xmlns:a16="http://schemas.microsoft.com/office/drawing/2014/main" id="{D53A52CF-131D-EC88-F5B1-A2605B8F4EF8}"/>
                </a:ext>
              </a:extLst>
            </p:cNvPr>
            <p:cNvSpPr/>
            <p:nvPr/>
          </p:nvSpPr>
          <p:spPr bwMode="auto">
            <a:xfrm>
              <a:off x="3033" y="1451"/>
              <a:ext cx="1515" cy="1517"/>
            </a:xfrm>
            <a:custGeom>
              <a:avLst/>
              <a:gdLst>
                <a:gd name="T0" fmla="*/ 567 w 809"/>
                <a:gd name="T1" fmla="*/ 0 h 809"/>
                <a:gd name="T2" fmla="*/ 439 w 809"/>
                <a:gd name="T3" fmla="*/ 128 h 809"/>
                <a:gd name="T4" fmla="*/ 534 w 809"/>
                <a:gd name="T5" fmla="*/ 223 h 809"/>
                <a:gd name="T6" fmla="*/ 534 w 809"/>
                <a:gd name="T7" fmla="*/ 255 h 809"/>
                <a:gd name="T8" fmla="*/ 519 w 809"/>
                <a:gd name="T9" fmla="*/ 261 h 809"/>
                <a:gd name="T10" fmla="*/ 503 w 809"/>
                <a:gd name="T11" fmla="*/ 255 h 809"/>
                <a:gd name="T12" fmla="*/ 408 w 809"/>
                <a:gd name="T13" fmla="*/ 159 h 809"/>
                <a:gd name="T14" fmla="*/ 300 w 809"/>
                <a:gd name="T15" fmla="*/ 267 h 809"/>
                <a:gd name="T16" fmla="*/ 396 w 809"/>
                <a:gd name="T17" fmla="*/ 362 h 809"/>
                <a:gd name="T18" fmla="*/ 396 w 809"/>
                <a:gd name="T19" fmla="*/ 393 h 809"/>
                <a:gd name="T20" fmla="*/ 380 w 809"/>
                <a:gd name="T21" fmla="*/ 400 h 809"/>
                <a:gd name="T22" fmla="*/ 364 w 809"/>
                <a:gd name="T23" fmla="*/ 393 h 809"/>
                <a:gd name="T24" fmla="*/ 269 w 809"/>
                <a:gd name="T25" fmla="*/ 298 h 809"/>
                <a:gd name="T26" fmla="*/ 161 w 809"/>
                <a:gd name="T27" fmla="*/ 405 h 809"/>
                <a:gd name="T28" fmla="*/ 257 w 809"/>
                <a:gd name="T29" fmla="*/ 501 h 809"/>
                <a:gd name="T30" fmla="*/ 257 w 809"/>
                <a:gd name="T31" fmla="*/ 532 h 809"/>
                <a:gd name="T32" fmla="*/ 241 w 809"/>
                <a:gd name="T33" fmla="*/ 538 h 809"/>
                <a:gd name="T34" fmla="*/ 226 w 809"/>
                <a:gd name="T35" fmla="*/ 532 h 809"/>
                <a:gd name="T36" fmla="*/ 130 w 809"/>
                <a:gd name="T37" fmla="*/ 437 h 809"/>
                <a:gd name="T38" fmla="*/ 1 w 809"/>
                <a:gd name="T39" fmla="*/ 566 h 809"/>
                <a:gd name="T40" fmla="*/ 1 w 809"/>
                <a:gd name="T41" fmla="*/ 570 h 809"/>
                <a:gd name="T42" fmla="*/ 239 w 809"/>
                <a:gd name="T43" fmla="*/ 808 h 809"/>
                <a:gd name="T44" fmla="*/ 241 w 809"/>
                <a:gd name="T45" fmla="*/ 809 h 809"/>
                <a:gd name="T46" fmla="*/ 243 w 809"/>
                <a:gd name="T47" fmla="*/ 808 h 809"/>
                <a:gd name="T48" fmla="*/ 809 w 809"/>
                <a:gd name="T49" fmla="*/ 242 h 809"/>
                <a:gd name="T50" fmla="*/ 567 w 809"/>
                <a:gd name="T51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9" h="809">
                  <a:moveTo>
                    <a:pt x="567" y="0"/>
                  </a:moveTo>
                  <a:cubicBezTo>
                    <a:pt x="439" y="128"/>
                    <a:pt x="439" y="128"/>
                    <a:pt x="439" y="128"/>
                  </a:cubicBezTo>
                  <a:cubicBezTo>
                    <a:pt x="534" y="223"/>
                    <a:pt x="534" y="223"/>
                    <a:pt x="534" y="223"/>
                  </a:cubicBezTo>
                  <a:cubicBezTo>
                    <a:pt x="543" y="232"/>
                    <a:pt x="543" y="246"/>
                    <a:pt x="534" y="255"/>
                  </a:cubicBezTo>
                  <a:cubicBezTo>
                    <a:pt x="530" y="259"/>
                    <a:pt x="524" y="261"/>
                    <a:pt x="519" y="261"/>
                  </a:cubicBezTo>
                  <a:cubicBezTo>
                    <a:pt x="513" y="261"/>
                    <a:pt x="507" y="259"/>
                    <a:pt x="503" y="255"/>
                  </a:cubicBezTo>
                  <a:cubicBezTo>
                    <a:pt x="408" y="159"/>
                    <a:pt x="408" y="159"/>
                    <a:pt x="408" y="159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396" y="362"/>
                    <a:pt x="396" y="362"/>
                    <a:pt x="396" y="362"/>
                  </a:cubicBezTo>
                  <a:cubicBezTo>
                    <a:pt x="404" y="371"/>
                    <a:pt x="404" y="385"/>
                    <a:pt x="396" y="393"/>
                  </a:cubicBezTo>
                  <a:cubicBezTo>
                    <a:pt x="391" y="398"/>
                    <a:pt x="386" y="400"/>
                    <a:pt x="380" y="400"/>
                  </a:cubicBezTo>
                  <a:cubicBezTo>
                    <a:pt x="374" y="400"/>
                    <a:pt x="369" y="398"/>
                    <a:pt x="364" y="393"/>
                  </a:cubicBezTo>
                  <a:cubicBezTo>
                    <a:pt x="269" y="298"/>
                    <a:pt x="269" y="298"/>
                    <a:pt x="269" y="298"/>
                  </a:cubicBezTo>
                  <a:cubicBezTo>
                    <a:pt x="161" y="405"/>
                    <a:pt x="161" y="405"/>
                    <a:pt x="161" y="405"/>
                  </a:cubicBezTo>
                  <a:cubicBezTo>
                    <a:pt x="257" y="501"/>
                    <a:pt x="257" y="501"/>
                    <a:pt x="257" y="501"/>
                  </a:cubicBezTo>
                  <a:cubicBezTo>
                    <a:pt x="265" y="509"/>
                    <a:pt x="265" y="523"/>
                    <a:pt x="257" y="532"/>
                  </a:cubicBezTo>
                  <a:cubicBezTo>
                    <a:pt x="253" y="536"/>
                    <a:pt x="247" y="538"/>
                    <a:pt x="241" y="538"/>
                  </a:cubicBezTo>
                  <a:cubicBezTo>
                    <a:pt x="236" y="538"/>
                    <a:pt x="230" y="536"/>
                    <a:pt x="226" y="532"/>
                  </a:cubicBezTo>
                  <a:cubicBezTo>
                    <a:pt x="130" y="437"/>
                    <a:pt x="130" y="437"/>
                    <a:pt x="130" y="437"/>
                  </a:cubicBezTo>
                  <a:cubicBezTo>
                    <a:pt x="1" y="566"/>
                    <a:pt x="1" y="566"/>
                    <a:pt x="1" y="566"/>
                  </a:cubicBezTo>
                  <a:cubicBezTo>
                    <a:pt x="0" y="567"/>
                    <a:pt x="0" y="569"/>
                    <a:pt x="1" y="570"/>
                  </a:cubicBezTo>
                  <a:cubicBezTo>
                    <a:pt x="239" y="808"/>
                    <a:pt x="239" y="808"/>
                    <a:pt x="239" y="808"/>
                  </a:cubicBezTo>
                  <a:cubicBezTo>
                    <a:pt x="239" y="808"/>
                    <a:pt x="240" y="809"/>
                    <a:pt x="241" y="809"/>
                  </a:cubicBezTo>
                  <a:cubicBezTo>
                    <a:pt x="242" y="809"/>
                    <a:pt x="243" y="808"/>
                    <a:pt x="243" y="808"/>
                  </a:cubicBezTo>
                  <a:cubicBezTo>
                    <a:pt x="809" y="242"/>
                    <a:pt x="809" y="242"/>
                    <a:pt x="809" y="242"/>
                  </a:cubicBezTo>
                  <a:lnTo>
                    <a:pt x="567" y="0"/>
                  </a:lnTo>
                  <a:close/>
                </a:path>
              </a:pathLst>
            </a:custGeom>
            <a:solidFill>
              <a:srgbClr val="539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9" name="bcgIcons_Meat 2 ">
            <a:extLst>
              <a:ext uri="{FF2B5EF4-FFF2-40B4-BE49-F238E27FC236}">
                <a16:creationId xmlns:a16="http://schemas.microsoft.com/office/drawing/2014/main" id="{D99DF4DA-4820-4EB5-7898-187B9F45A726}"/>
              </a:ext>
            </a:extLst>
          </p:cNvPr>
          <p:cNvGrpSpPr>
            <a:grpSpLocks noChangeAspect="1"/>
          </p:cNvGrpSpPr>
          <p:nvPr/>
        </p:nvGrpSpPr>
        <p:grpSpPr>
          <a:xfrm>
            <a:off x="197990" y="3245405"/>
            <a:ext cx="403332" cy="364497"/>
            <a:chOff x="5275263" y="2608263"/>
            <a:chExt cx="1641475" cy="1641475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98F3F3A9-ACBD-C7CD-1B72-CF5595B2F93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5263" y="2608263"/>
              <a:ext cx="1641475" cy="164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0E1E163B-9456-BA13-D730-3A82EBAB61DE}"/>
                </a:ext>
              </a:extLst>
            </p:cNvPr>
            <p:cNvGrpSpPr/>
            <p:nvPr/>
          </p:nvGrpSpPr>
          <p:grpSpPr>
            <a:xfrm>
              <a:off x="5343498" y="2911476"/>
              <a:ext cx="1503358" cy="1036638"/>
              <a:chOff x="5343498" y="2911476"/>
              <a:chExt cx="1503358" cy="1036638"/>
            </a:xfrm>
          </p:grpSpPr>
          <p:sp>
            <p:nvSpPr>
              <p:cNvPr id="82" name="Freeform 41">
                <a:extLst>
                  <a:ext uri="{FF2B5EF4-FFF2-40B4-BE49-F238E27FC236}">
                    <a16:creationId xmlns:a16="http://schemas.microsoft.com/office/drawing/2014/main" id="{F21E13B9-3EFE-7C54-CB63-7B0470CD73CE}"/>
                  </a:ext>
                </a:extLst>
              </p:cNvPr>
              <p:cNvSpPr/>
              <p:nvPr/>
            </p:nvSpPr>
            <p:spPr bwMode="auto">
              <a:xfrm>
                <a:off x="5343498" y="2911476"/>
                <a:ext cx="1503358" cy="1036638"/>
              </a:xfrm>
              <a:custGeom>
                <a:avLst/>
                <a:gdLst>
                  <a:gd name="connsiteX0" fmla="*/ 316891 w 1503358"/>
                  <a:gd name="connsiteY0" fmla="*/ 28575 h 1036638"/>
                  <a:gd name="connsiteX1" fmla="*/ 162252 w 1503358"/>
                  <a:gd name="connsiteY1" fmla="*/ 46397 h 1036638"/>
                  <a:gd name="connsiteX2" fmla="*/ 161539 w 1503358"/>
                  <a:gd name="connsiteY2" fmla="*/ 46397 h 1036638"/>
                  <a:gd name="connsiteX3" fmla="*/ 61772 w 1503358"/>
                  <a:gd name="connsiteY3" fmla="*/ 138358 h 1036638"/>
                  <a:gd name="connsiteX4" fmla="*/ 31129 w 1503358"/>
                  <a:gd name="connsiteY4" fmla="*/ 356497 h 1036638"/>
                  <a:gd name="connsiteX5" fmla="*/ 92415 w 1503358"/>
                  <a:gd name="connsiteY5" fmla="*/ 625250 h 1036638"/>
                  <a:gd name="connsiteX6" fmla="*/ 455140 w 1503358"/>
                  <a:gd name="connsiteY6" fmla="*/ 1008063 h 1036638"/>
                  <a:gd name="connsiteX7" fmla="*/ 456566 w 1503358"/>
                  <a:gd name="connsiteY7" fmla="*/ 1008063 h 1036638"/>
                  <a:gd name="connsiteX8" fmla="*/ 599090 w 1503358"/>
                  <a:gd name="connsiteY8" fmla="*/ 977410 h 1036638"/>
                  <a:gd name="connsiteX9" fmla="*/ 599803 w 1503358"/>
                  <a:gd name="connsiteY9" fmla="*/ 977410 h 1036638"/>
                  <a:gd name="connsiteX10" fmla="*/ 767269 w 1503358"/>
                  <a:gd name="connsiteY10" fmla="*/ 872617 h 1036638"/>
                  <a:gd name="connsiteX11" fmla="*/ 846371 w 1503358"/>
                  <a:gd name="connsiteY11" fmla="*/ 762122 h 1036638"/>
                  <a:gd name="connsiteX12" fmla="*/ 882715 w 1503358"/>
                  <a:gd name="connsiteY12" fmla="*/ 707943 h 1036638"/>
                  <a:gd name="connsiteX13" fmla="*/ 1134983 w 1503358"/>
                  <a:gd name="connsiteY13" fmla="*/ 454161 h 1036638"/>
                  <a:gd name="connsiteX14" fmla="*/ 1139972 w 1503358"/>
                  <a:gd name="connsiteY14" fmla="*/ 451309 h 1036638"/>
                  <a:gd name="connsiteX15" fmla="*/ 1249716 w 1503358"/>
                  <a:gd name="connsiteY15" fmla="*/ 320140 h 1036638"/>
                  <a:gd name="connsiteX16" fmla="*/ 1250428 w 1503358"/>
                  <a:gd name="connsiteY16" fmla="*/ 272378 h 1036638"/>
                  <a:gd name="connsiteX17" fmla="*/ 1208384 w 1503358"/>
                  <a:gd name="connsiteY17" fmla="*/ 176140 h 1036638"/>
                  <a:gd name="connsiteX18" fmla="*/ 1144960 w 1503358"/>
                  <a:gd name="connsiteY18" fmla="*/ 133368 h 1036638"/>
                  <a:gd name="connsiteX19" fmla="*/ 1117168 w 1503358"/>
                  <a:gd name="connsiteY19" fmla="*/ 130516 h 1036638"/>
                  <a:gd name="connsiteX20" fmla="*/ 1083674 w 1503358"/>
                  <a:gd name="connsiteY20" fmla="*/ 133368 h 1036638"/>
                  <a:gd name="connsiteX21" fmla="*/ 1072272 w 1503358"/>
                  <a:gd name="connsiteY21" fmla="*/ 135506 h 1036638"/>
                  <a:gd name="connsiteX22" fmla="*/ 1060158 w 1503358"/>
                  <a:gd name="connsiteY22" fmla="*/ 137645 h 1036638"/>
                  <a:gd name="connsiteX23" fmla="*/ 998160 w 1503358"/>
                  <a:gd name="connsiteY23" fmla="*/ 141922 h 1036638"/>
                  <a:gd name="connsiteX24" fmla="*/ 978206 w 1503358"/>
                  <a:gd name="connsiteY24" fmla="*/ 141922 h 1036638"/>
                  <a:gd name="connsiteX25" fmla="*/ 953264 w 1503358"/>
                  <a:gd name="connsiteY25" fmla="*/ 140496 h 1036638"/>
                  <a:gd name="connsiteX26" fmla="*/ 860623 w 1503358"/>
                  <a:gd name="connsiteY26" fmla="*/ 129090 h 1036638"/>
                  <a:gd name="connsiteX27" fmla="*/ 786510 w 1503358"/>
                  <a:gd name="connsiteY27" fmla="*/ 102714 h 1036638"/>
                  <a:gd name="connsiteX28" fmla="*/ 770120 w 1503358"/>
                  <a:gd name="connsiteY28" fmla="*/ 96298 h 1036638"/>
                  <a:gd name="connsiteX29" fmla="*/ 364637 w 1503358"/>
                  <a:gd name="connsiteY29" fmla="*/ 28575 h 1036638"/>
                  <a:gd name="connsiteX30" fmla="*/ 344684 w 1503358"/>
                  <a:gd name="connsiteY30" fmla="*/ 29288 h 1036638"/>
                  <a:gd name="connsiteX31" fmla="*/ 316891 w 1503358"/>
                  <a:gd name="connsiteY31" fmla="*/ 28575 h 1036638"/>
                  <a:gd name="connsiteX32" fmla="*/ 316539 w 1503358"/>
                  <a:gd name="connsiteY32" fmla="*/ 0 h 1036638"/>
                  <a:gd name="connsiteX33" fmla="*/ 344321 w 1503358"/>
                  <a:gd name="connsiteY33" fmla="*/ 0 h 1036638"/>
                  <a:gd name="connsiteX34" fmla="*/ 364267 w 1503358"/>
                  <a:gd name="connsiteY34" fmla="*/ 0 h 1036638"/>
                  <a:gd name="connsiteX35" fmla="*/ 780285 w 1503358"/>
                  <a:gd name="connsiteY35" fmla="*/ 69774 h 1036638"/>
                  <a:gd name="connsiteX36" fmla="*/ 796669 w 1503358"/>
                  <a:gd name="connsiteY36" fmla="*/ 76182 h 1036638"/>
                  <a:gd name="connsiteX37" fmla="*/ 866480 w 1503358"/>
                  <a:gd name="connsiteY37" fmla="*/ 101101 h 1036638"/>
                  <a:gd name="connsiteX38" fmla="*/ 954100 w 1503358"/>
                  <a:gd name="connsiteY38" fmla="*/ 111780 h 1036638"/>
                  <a:gd name="connsiteX39" fmla="*/ 978320 w 1503358"/>
                  <a:gd name="connsiteY39" fmla="*/ 112492 h 1036638"/>
                  <a:gd name="connsiteX40" fmla="*/ 997554 w 1503358"/>
                  <a:gd name="connsiteY40" fmla="*/ 113204 h 1036638"/>
                  <a:gd name="connsiteX41" fmla="*/ 1054543 w 1503358"/>
                  <a:gd name="connsiteY41" fmla="*/ 108933 h 1036638"/>
                  <a:gd name="connsiteX42" fmla="*/ 1065941 w 1503358"/>
                  <a:gd name="connsiteY42" fmla="*/ 106797 h 1036638"/>
                  <a:gd name="connsiteX43" fmla="*/ 1066653 w 1503358"/>
                  <a:gd name="connsiteY43" fmla="*/ 106797 h 1036638"/>
                  <a:gd name="connsiteX44" fmla="*/ 1078051 w 1503358"/>
                  <a:gd name="connsiteY44" fmla="*/ 105373 h 1036638"/>
                  <a:gd name="connsiteX45" fmla="*/ 1116518 w 1503358"/>
                  <a:gd name="connsiteY45" fmla="*/ 101101 h 1036638"/>
                  <a:gd name="connsiteX46" fmla="*/ 1152136 w 1503358"/>
                  <a:gd name="connsiteY46" fmla="*/ 105373 h 1036638"/>
                  <a:gd name="connsiteX47" fmla="*/ 1226934 w 1503358"/>
                  <a:gd name="connsiteY47" fmla="*/ 153787 h 1036638"/>
                  <a:gd name="connsiteX48" fmla="*/ 1258277 w 1503358"/>
                  <a:gd name="connsiteY48" fmla="*/ 136700 h 1036638"/>
                  <a:gd name="connsiteX49" fmla="*/ 1286059 w 1503358"/>
                  <a:gd name="connsiteY49" fmla="*/ 54822 h 1036638"/>
                  <a:gd name="connsiteX50" fmla="*/ 1337349 w 1503358"/>
                  <a:gd name="connsiteY50" fmla="*/ 9256 h 1036638"/>
                  <a:gd name="connsiteX51" fmla="*/ 1388639 w 1503358"/>
                  <a:gd name="connsiteY51" fmla="*/ 20647 h 1036638"/>
                  <a:gd name="connsiteX52" fmla="*/ 1396475 w 1503358"/>
                  <a:gd name="connsiteY52" fmla="*/ 71910 h 1036638"/>
                  <a:gd name="connsiteX53" fmla="*/ 1411435 w 1503358"/>
                  <a:gd name="connsiteY53" fmla="*/ 121036 h 1036638"/>
                  <a:gd name="connsiteX54" fmla="*/ 1465574 w 1503358"/>
                  <a:gd name="connsiteY54" fmla="*/ 133140 h 1036638"/>
                  <a:gd name="connsiteX55" fmla="*/ 1486945 w 1503358"/>
                  <a:gd name="connsiteY55" fmla="*/ 151651 h 1036638"/>
                  <a:gd name="connsiteX56" fmla="*/ 1496205 w 1503358"/>
                  <a:gd name="connsiteY56" fmla="*/ 227121 h 1036638"/>
                  <a:gd name="connsiteX57" fmla="*/ 1429956 w 1503358"/>
                  <a:gd name="connsiteY57" fmla="*/ 257736 h 1036638"/>
                  <a:gd name="connsiteX58" fmla="*/ 1320253 w 1503358"/>
                  <a:gd name="connsiteY58" fmla="*/ 225697 h 1036638"/>
                  <a:gd name="connsiteX59" fmla="*/ 1304581 w 1503358"/>
                  <a:gd name="connsiteY59" fmla="*/ 217153 h 1036638"/>
                  <a:gd name="connsiteX60" fmla="*/ 1269675 w 1503358"/>
                  <a:gd name="connsiteY60" fmla="*/ 234240 h 1036638"/>
                  <a:gd name="connsiteX61" fmla="*/ 1278936 w 1503358"/>
                  <a:gd name="connsiteY61" fmla="*/ 266279 h 1036638"/>
                  <a:gd name="connsiteX62" fmla="*/ 1278224 w 1503358"/>
                  <a:gd name="connsiteY62" fmla="*/ 325373 h 1036638"/>
                  <a:gd name="connsiteX63" fmla="*/ 1155698 w 1503358"/>
                  <a:gd name="connsiteY63" fmla="*/ 474889 h 1036638"/>
                  <a:gd name="connsiteX64" fmla="*/ 1151424 w 1503358"/>
                  <a:gd name="connsiteY64" fmla="*/ 478448 h 1036638"/>
                  <a:gd name="connsiteX65" fmla="*/ 905660 w 1503358"/>
                  <a:gd name="connsiteY65" fmla="*/ 724080 h 1036638"/>
                  <a:gd name="connsiteX66" fmla="*/ 870042 w 1503358"/>
                  <a:gd name="connsiteY66" fmla="*/ 778191 h 1036638"/>
                  <a:gd name="connsiteX67" fmla="*/ 789545 w 1503358"/>
                  <a:gd name="connsiteY67" fmla="*/ 891395 h 1036638"/>
                  <a:gd name="connsiteX68" fmla="*/ 610031 w 1503358"/>
                  <a:gd name="connsiteY68" fmla="*/ 1003887 h 1036638"/>
                  <a:gd name="connsiteX69" fmla="*/ 609319 w 1503358"/>
                  <a:gd name="connsiteY69" fmla="*/ 1003887 h 1036638"/>
                  <a:gd name="connsiteX70" fmla="*/ 456161 w 1503358"/>
                  <a:gd name="connsiteY70" fmla="*/ 1036638 h 1036638"/>
                  <a:gd name="connsiteX71" fmla="*/ 454024 w 1503358"/>
                  <a:gd name="connsiteY71" fmla="*/ 1036638 h 1036638"/>
                  <a:gd name="connsiteX72" fmla="*/ 453312 w 1503358"/>
                  <a:gd name="connsiteY72" fmla="*/ 1036638 h 1036638"/>
                  <a:gd name="connsiteX73" fmla="*/ 65076 w 1503358"/>
                  <a:gd name="connsiteY73" fmla="*/ 635795 h 1036638"/>
                  <a:gd name="connsiteX74" fmla="*/ 1676 w 1503358"/>
                  <a:gd name="connsiteY74" fmla="*/ 358836 h 1036638"/>
                  <a:gd name="connsiteX75" fmla="*/ 35870 w 1503358"/>
                  <a:gd name="connsiteY75" fmla="*/ 126020 h 1036638"/>
                  <a:gd name="connsiteX76" fmla="*/ 153409 w 1503358"/>
                  <a:gd name="connsiteY76" fmla="*/ 19223 h 1036638"/>
                  <a:gd name="connsiteX77" fmla="*/ 154834 w 1503358"/>
                  <a:gd name="connsiteY77" fmla="*/ 19223 h 1036638"/>
                  <a:gd name="connsiteX78" fmla="*/ 316539 w 1503358"/>
                  <a:gd name="connsiteY78" fmla="*/ 0 h 1036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503358" h="1036638">
                    <a:moveTo>
                      <a:pt x="316891" y="28575"/>
                    </a:moveTo>
                    <a:cubicBezTo>
                      <a:pt x="256318" y="28575"/>
                      <a:pt x="203584" y="34278"/>
                      <a:pt x="162252" y="46397"/>
                    </a:cubicBezTo>
                    <a:cubicBezTo>
                      <a:pt x="162252" y="46397"/>
                      <a:pt x="162252" y="46397"/>
                      <a:pt x="161539" y="46397"/>
                    </a:cubicBezTo>
                    <a:cubicBezTo>
                      <a:pt x="118782" y="59942"/>
                      <a:pt x="84576" y="92021"/>
                      <a:pt x="61772" y="138358"/>
                    </a:cubicBezTo>
                    <a:cubicBezTo>
                      <a:pt x="36118" y="193249"/>
                      <a:pt x="25428" y="268813"/>
                      <a:pt x="31129" y="356497"/>
                    </a:cubicBezTo>
                    <a:cubicBezTo>
                      <a:pt x="36118" y="442042"/>
                      <a:pt x="57496" y="534715"/>
                      <a:pt x="92415" y="625250"/>
                    </a:cubicBezTo>
                    <a:cubicBezTo>
                      <a:pt x="184343" y="867627"/>
                      <a:pt x="310478" y="1000222"/>
                      <a:pt x="455140" y="1008063"/>
                    </a:cubicBezTo>
                    <a:cubicBezTo>
                      <a:pt x="455140" y="1008063"/>
                      <a:pt x="455140" y="1008063"/>
                      <a:pt x="456566" y="1008063"/>
                    </a:cubicBezTo>
                    <a:cubicBezTo>
                      <a:pt x="519989" y="1008063"/>
                      <a:pt x="576286" y="986677"/>
                      <a:pt x="599090" y="977410"/>
                    </a:cubicBezTo>
                    <a:cubicBezTo>
                      <a:pt x="599090" y="977410"/>
                      <a:pt x="599090" y="977410"/>
                      <a:pt x="599803" y="977410"/>
                    </a:cubicBezTo>
                    <a:cubicBezTo>
                      <a:pt x="658238" y="953885"/>
                      <a:pt x="733064" y="913251"/>
                      <a:pt x="767269" y="872617"/>
                    </a:cubicBezTo>
                    <a:cubicBezTo>
                      <a:pt x="797200" y="837686"/>
                      <a:pt x="822142" y="799191"/>
                      <a:pt x="846371" y="762122"/>
                    </a:cubicBezTo>
                    <a:cubicBezTo>
                      <a:pt x="858485" y="744300"/>
                      <a:pt x="870600" y="725765"/>
                      <a:pt x="882715" y="707943"/>
                    </a:cubicBezTo>
                    <a:cubicBezTo>
                      <a:pt x="951126" y="608141"/>
                      <a:pt x="1036641" y="523309"/>
                      <a:pt x="1134983" y="454161"/>
                    </a:cubicBezTo>
                    <a:cubicBezTo>
                      <a:pt x="1134983" y="454161"/>
                      <a:pt x="1134983" y="454161"/>
                      <a:pt x="1139972" y="451309"/>
                    </a:cubicBezTo>
                    <a:cubicBezTo>
                      <a:pt x="1183442" y="420655"/>
                      <a:pt x="1238314" y="382873"/>
                      <a:pt x="1249716" y="320140"/>
                    </a:cubicBezTo>
                    <a:cubicBezTo>
                      <a:pt x="1252566" y="305883"/>
                      <a:pt x="1252566" y="288061"/>
                      <a:pt x="1250428" y="272378"/>
                    </a:cubicBezTo>
                    <a:cubicBezTo>
                      <a:pt x="1244015" y="240299"/>
                      <a:pt x="1229762" y="207506"/>
                      <a:pt x="1208384" y="176140"/>
                    </a:cubicBezTo>
                    <a:cubicBezTo>
                      <a:pt x="1190568" y="154754"/>
                      <a:pt x="1167764" y="139783"/>
                      <a:pt x="1144960" y="133368"/>
                    </a:cubicBezTo>
                    <a:cubicBezTo>
                      <a:pt x="1136409" y="131229"/>
                      <a:pt x="1127144" y="130516"/>
                      <a:pt x="1117168" y="130516"/>
                    </a:cubicBezTo>
                    <a:cubicBezTo>
                      <a:pt x="1104340" y="130516"/>
                      <a:pt x="1092938" y="131942"/>
                      <a:pt x="1083674" y="133368"/>
                    </a:cubicBezTo>
                    <a:cubicBezTo>
                      <a:pt x="1080111" y="134080"/>
                      <a:pt x="1075836" y="134793"/>
                      <a:pt x="1072272" y="135506"/>
                    </a:cubicBezTo>
                    <a:cubicBezTo>
                      <a:pt x="1067997" y="136219"/>
                      <a:pt x="1063721" y="136932"/>
                      <a:pt x="1060158" y="137645"/>
                    </a:cubicBezTo>
                    <a:cubicBezTo>
                      <a:pt x="1041630" y="140496"/>
                      <a:pt x="1021676" y="141922"/>
                      <a:pt x="998160" y="141922"/>
                    </a:cubicBezTo>
                    <a:cubicBezTo>
                      <a:pt x="991746" y="141922"/>
                      <a:pt x="985332" y="141922"/>
                      <a:pt x="978206" y="141922"/>
                    </a:cubicBezTo>
                    <a:cubicBezTo>
                      <a:pt x="970367" y="141209"/>
                      <a:pt x="961816" y="141209"/>
                      <a:pt x="953264" y="140496"/>
                    </a:cubicBezTo>
                    <a:cubicBezTo>
                      <a:pt x="918346" y="139071"/>
                      <a:pt x="889128" y="136219"/>
                      <a:pt x="860623" y="129090"/>
                    </a:cubicBezTo>
                    <a:cubicBezTo>
                      <a:pt x="835681" y="122674"/>
                      <a:pt x="812165" y="113407"/>
                      <a:pt x="786510" y="102714"/>
                    </a:cubicBezTo>
                    <a:cubicBezTo>
                      <a:pt x="780809" y="100575"/>
                      <a:pt x="775108" y="98437"/>
                      <a:pt x="770120" y="96298"/>
                    </a:cubicBezTo>
                    <a:cubicBezTo>
                      <a:pt x="665364" y="54951"/>
                      <a:pt x="506449" y="28575"/>
                      <a:pt x="364637" y="28575"/>
                    </a:cubicBezTo>
                    <a:cubicBezTo>
                      <a:pt x="357511" y="28575"/>
                      <a:pt x="351097" y="28575"/>
                      <a:pt x="344684" y="29288"/>
                    </a:cubicBezTo>
                    <a:cubicBezTo>
                      <a:pt x="335420" y="28575"/>
                      <a:pt x="326155" y="28575"/>
                      <a:pt x="316891" y="28575"/>
                    </a:cubicBezTo>
                    <a:close/>
                    <a:moveTo>
                      <a:pt x="316539" y="0"/>
                    </a:moveTo>
                    <a:cubicBezTo>
                      <a:pt x="325800" y="0"/>
                      <a:pt x="335060" y="0"/>
                      <a:pt x="344321" y="0"/>
                    </a:cubicBezTo>
                    <a:cubicBezTo>
                      <a:pt x="350732" y="0"/>
                      <a:pt x="357144" y="0"/>
                      <a:pt x="364267" y="0"/>
                    </a:cubicBezTo>
                    <a:cubicBezTo>
                      <a:pt x="509588" y="0"/>
                      <a:pt x="672719" y="27055"/>
                      <a:pt x="780285" y="69774"/>
                    </a:cubicBezTo>
                    <a:cubicBezTo>
                      <a:pt x="785984" y="71910"/>
                      <a:pt x="791682" y="74046"/>
                      <a:pt x="796669" y="76182"/>
                    </a:cubicBezTo>
                    <a:cubicBezTo>
                      <a:pt x="820889" y="86149"/>
                      <a:pt x="843685" y="95405"/>
                      <a:pt x="866480" y="101101"/>
                    </a:cubicBezTo>
                    <a:cubicBezTo>
                      <a:pt x="892837" y="107509"/>
                      <a:pt x="920619" y="110357"/>
                      <a:pt x="954100" y="111780"/>
                    </a:cubicBezTo>
                    <a:cubicBezTo>
                      <a:pt x="962649" y="112492"/>
                      <a:pt x="970485" y="112492"/>
                      <a:pt x="978320" y="112492"/>
                    </a:cubicBezTo>
                    <a:cubicBezTo>
                      <a:pt x="985444" y="113204"/>
                      <a:pt x="991143" y="113204"/>
                      <a:pt x="997554" y="113204"/>
                    </a:cubicBezTo>
                    <a:cubicBezTo>
                      <a:pt x="1018925" y="113204"/>
                      <a:pt x="1038159" y="111780"/>
                      <a:pt x="1054543" y="108933"/>
                    </a:cubicBezTo>
                    <a:cubicBezTo>
                      <a:pt x="1058105" y="108221"/>
                      <a:pt x="1062379" y="107509"/>
                      <a:pt x="1065941" y="106797"/>
                    </a:cubicBezTo>
                    <a:cubicBezTo>
                      <a:pt x="1065941" y="106797"/>
                      <a:pt x="1065941" y="106797"/>
                      <a:pt x="1066653" y="106797"/>
                    </a:cubicBezTo>
                    <a:cubicBezTo>
                      <a:pt x="1070215" y="106085"/>
                      <a:pt x="1074489" y="105373"/>
                      <a:pt x="1078051" y="105373"/>
                    </a:cubicBezTo>
                    <a:cubicBezTo>
                      <a:pt x="1088024" y="103237"/>
                      <a:pt x="1101559" y="101101"/>
                      <a:pt x="1116518" y="101101"/>
                    </a:cubicBezTo>
                    <a:cubicBezTo>
                      <a:pt x="1128628" y="101101"/>
                      <a:pt x="1140738" y="102525"/>
                      <a:pt x="1152136" y="105373"/>
                    </a:cubicBezTo>
                    <a:cubicBezTo>
                      <a:pt x="1180630" y="113204"/>
                      <a:pt x="1205563" y="128868"/>
                      <a:pt x="1226934" y="153787"/>
                    </a:cubicBezTo>
                    <a:cubicBezTo>
                      <a:pt x="1226934" y="153787"/>
                      <a:pt x="1226934" y="153787"/>
                      <a:pt x="1258277" y="136700"/>
                    </a:cubicBezTo>
                    <a:cubicBezTo>
                      <a:pt x="1265401" y="113916"/>
                      <a:pt x="1274662" y="74758"/>
                      <a:pt x="1286059" y="54822"/>
                    </a:cubicBezTo>
                    <a:cubicBezTo>
                      <a:pt x="1298170" y="34887"/>
                      <a:pt x="1315266" y="17088"/>
                      <a:pt x="1337349" y="9256"/>
                    </a:cubicBezTo>
                    <a:cubicBezTo>
                      <a:pt x="1354446" y="2848"/>
                      <a:pt x="1376529" y="4984"/>
                      <a:pt x="1388639" y="20647"/>
                    </a:cubicBezTo>
                    <a:cubicBezTo>
                      <a:pt x="1399325" y="34175"/>
                      <a:pt x="1397900" y="54110"/>
                      <a:pt x="1396475" y="71910"/>
                    </a:cubicBezTo>
                    <a:cubicBezTo>
                      <a:pt x="1395763" y="89709"/>
                      <a:pt x="1397187" y="110357"/>
                      <a:pt x="1411435" y="121036"/>
                    </a:cubicBezTo>
                    <a:cubicBezTo>
                      <a:pt x="1426394" y="132428"/>
                      <a:pt x="1448477" y="126020"/>
                      <a:pt x="1465574" y="133140"/>
                    </a:cubicBezTo>
                    <a:cubicBezTo>
                      <a:pt x="1474122" y="136700"/>
                      <a:pt x="1481246" y="143819"/>
                      <a:pt x="1486945" y="151651"/>
                    </a:cubicBezTo>
                    <a:cubicBezTo>
                      <a:pt x="1502617" y="173010"/>
                      <a:pt x="1509740" y="204337"/>
                      <a:pt x="1496205" y="227121"/>
                    </a:cubicBezTo>
                    <a:cubicBezTo>
                      <a:pt x="1483383" y="249904"/>
                      <a:pt x="1454889" y="257736"/>
                      <a:pt x="1429956" y="257736"/>
                    </a:cubicBezTo>
                    <a:cubicBezTo>
                      <a:pt x="1392201" y="257024"/>
                      <a:pt x="1355158" y="242072"/>
                      <a:pt x="1320253" y="225697"/>
                    </a:cubicBezTo>
                    <a:cubicBezTo>
                      <a:pt x="1315266" y="222849"/>
                      <a:pt x="1309567" y="220001"/>
                      <a:pt x="1304581" y="217153"/>
                    </a:cubicBezTo>
                    <a:cubicBezTo>
                      <a:pt x="1304581" y="217153"/>
                      <a:pt x="1304581" y="217153"/>
                      <a:pt x="1269675" y="234240"/>
                    </a:cubicBezTo>
                    <a:cubicBezTo>
                      <a:pt x="1273949" y="244920"/>
                      <a:pt x="1276799" y="255600"/>
                      <a:pt x="1278936" y="266279"/>
                    </a:cubicBezTo>
                    <a:cubicBezTo>
                      <a:pt x="1281785" y="285503"/>
                      <a:pt x="1281073" y="308286"/>
                      <a:pt x="1278224" y="325373"/>
                    </a:cubicBezTo>
                    <a:cubicBezTo>
                      <a:pt x="1263976" y="400131"/>
                      <a:pt x="1201289" y="443562"/>
                      <a:pt x="1155698" y="474889"/>
                    </a:cubicBezTo>
                    <a:cubicBezTo>
                      <a:pt x="1155698" y="474889"/>
                      <a:pt x="1155698" y="474889"/>
                      <a:pt x="1151424" y="478448"/>
                    </a:cubicBezTo>
                    <a:cubicBezTo>
                      <a:pt x="1055255" y="545374"/>
                      <a:pt x="972622" y="627964"/>
                      <a:pt x="905660" y="724080"/>
                    </a:cubicBezTo>
                    <a:cubicBezTo>
                      <a:pt x="893550" y="741880"/>
                      <a:pt x="881440" y="760391"/>
                      <a:pt x="870042" y="778191"/>
                    </a:cubicBezTo>
                    <a:cubicBezTo>
                      <a:pt x="845109" y="815925"/>
                      <a:pt x="819464" y="855084"/>
                      <a:pt x="789545" y="891395"/>
                    </a:cubicBezTo>
                    <a:cubicBezTo>
                      <a:pt x="741817" y="947641"/>
                      <a:pt x="639950" y="991784"/>
                      <a:pt x="610031" y="1003887"/>
                    </a:cubicBezTo>
                    <a:cubicBezTo>
                      <a:pt x="610031" y="1003887"/>
                      <a:pt x="610031" y="1003887"/>
                      <a:pt x="609319" y="1003887"/>
                    </a:cubicBezTo>
                    <a:cubicBezTo>
                      <a:pt x="585811" y="1013855"/>
                      <a:pt x="524548" y="1036638"/>
                      <a:pt x="456161" y="1036638"/>
                    </a:cubicBezTo>
                    <a:cubicBezTo>
                      <a:pt x="456161" y="1036638"/>
                      <a:pt x="456161" y="1036638"/>
                      <a:pt x="454024" y="1036638"/>
                    </a:cubicBezTo>
                    <a:cubicBezTo>
                      <a:pt x="454024" y="1036638"/>
                      <a:pt x="454024" y="1036638"/>
                      <a:pt x="453312" y="1036638"/>
                    </a:cubicBezTo>
                    <a:cubicBezTo>
                      <a:pt x="295881" y="1028094"/>
                      <a:pt x="161957" y="889971"/>
                      <a:pt x="65076" y="635795"/>
                    </a:cubicBezTo>
                    <a:cubicBezTo>
                      <a:pt x="29458" y="542526"/>
                      <a:pt x="7375" y="447121"/>
                      <a:pt x="1676" y="358836"/>
                    </a:cubicBezTo>
                    <a:cubicBezTo>
                      <a:pt x="-4735" y="265567"/>
                      <a:pt x="7375" y="185114"/>
                      <a:pt x="35870" y="126020"/>
                    </a:cubicBezTo>
                    <a:cubicBezTo>
                      <a:pt x="62227" y="71910"/>
                      <a:pt x="102831" y="34887"/>
                      <a:pt x="153409" y="19223"/>
                    </a:cubicBezTo>
                    <a:cubicBezTo>
                      <a:pt x="153409" y="19223"/>
                      <a:pt x="153409" y="19223"/>
                      <a:pt x="154834" y="19223"/>
                    </a:cubicBezTo>
                    <a:cubicBezTo>
                      <a:pt x="198288" y="6408"/>
                      <a:pt x="253139" y="0"/>
                      <a:pt x="316539" y="0"/>
                    </a:cubicBezTo>
                    <a:close/>
                  </a:path>
                </a:pathLst>
              </a:custGeom>
              <a:solidFill>
                <a:srgbClr val="294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7">
                <a:extLst>
                  <a:ext uri="{FF2B5EF4-FFF2-40B4-BE49-F238E27FC236}">
                    <a16:creationId xmlns:a16="http://schemas.microsoft.com/office/drawing/2014/main" id="{C674DF8F-014A-5C5A-B858-CE6F834E12EB}"/>
                  </a:ext>
                </a:extLst>
              </p:cNvPr>
              <p:cNvSpPr/>
              <p:nvPr/>
            </p:nvSpPr>
            <p:spPr bwMode="auto">
              <a:xfrm>
                <a:off x="5400676" y="2971801"/>
                <a:ext cx="1163638" cy="915988"/>
              </a:xfrm>
              <a:custGeom>
                <a:avLst/>
                <a:gdLst>
                  <a:gd name="T0" fmla="*/ 1582 w 1635"/>
                  <a:gd name="T1" fmla="*/ 190 h 1286"/>
                  <a:gd name="T2" fmla="*/ 1517 w 1635"/>
                  <a:gd name="T3" fmla="*/ 146 h 1286"/>
                  <a:gd name="T4" fmla="*/ 1489 w 1635"/>
                  <a:gd name="T5" fmla="*/ 143 h 1286"/>
                  <a:gd name="T6" fmla="*/ 1449 w 1635"/>
                  <a:gd name="T7" fmla="*/ 147 h 1286"/>
                  <a:gd name="T8" fmla="*/ 1442 w 1635"/>
                  <a:gd name="T9" fmla="*/ 148 h 1286"/>
                  <a:gd name="T10" fmla="*/ 1434 w 1635"/>
                  <a:gd name="T11" fmla="*/ 149 h 1286"/>
                  <a:gd name="T12" fmla="*/ 1434 w 1635"/>
                  <a:gd name="T13" fmla="*/ 150 h 1286"/>
                  <a:gd name="T14" fmla="*/ 1433 w 1635"/>
                  <a:gd name="T15" fmla="*/ 150 h 1286"/>
                  <a:gd name="T16" fmla="*/ 1418 w 1635"/>
                  <a:gd name="T17" fmla="*/ 152 h 1286"/>
                  <a:gd name="T18" fmla="*/ 1417 w 1635"/>
                  <a:gd name="T19" fmla="*/ 153 h 1286"/>
                  <a:gd name="T20" fmla="*/ 1416 w 1635"/>
                  <a:gd name="T21" fmla="*/ 153 h 1286"/>
                  <a:gd name="T22" fmla="*/ 1322 w 1635"/>
                  <a:gd name="T23" fmla="*/ 159 h 1286"/>
                  <a:gd name="T24" fmla="*/ 1294 w 1635"/>
                  <a:gd name="T25" fmla="*/ 159 h 1286"/>
                  <a:gd name="T26" fmla="*/ 1292 w 1635"/>
                  <a:gd name="T27" fmla="*/ 159 h 1286"/>
                  <a:gd name="T28" fmla="*/ 1290 w 1635"/>
                  <a:gd name="T29" fmla="*/ 159 h 1286"/>
                  <a:gd name="T30" fmla="*/ 1275 w 1635"/>
                  <a:gd name="T31" fmla="*/ 158 h 1286"/>
                  <a:gd name="T32" fmla="*/ 1256 w 1635"/>
                  <a:gd name="T33" fmla="*/ 157 h 1286"/>
                  <a:gd name="T34" fmla="*/ 1118 w 1635"/>
                  <a:gd name="T35" fmla="*/ 140 h 1286"/>
                  <a:gd name="T36" fmla="*/ 1009 w 1635"/>
                  <a:gd name="T37" fmla="*/ 101 h 1286"/>
                  <a:gd name="T38" fmla="*/ 985 w 1635"/>
                  <a:gd name="T39" fmla="*/ 92 h 1286"/>
                  <a:gd name="T40" fmla="*/ 433 w 1635"/>
                  <a:gd name="T41" fmla="*/ 0 h 1286"/>
                  <a:gd name="T42" fmla="*/ 410 w 1635"/>
                  <a:gd name="T43" fmla="*/ 1 h 1286"/>
                  <a:gd name="T44" fmla="*/ 406 w 1635"/>
                  <a:gd name="T45" fmla="*/ 1 h 1286"/>
                  <a:gd name="T46" fmla="*/ 402 w 1635"/>
                  <a:gd name="T47" fmla="*/ 1 h 1286"/>
                  <a:gd name="T48" fmla="*/ 366 w 1635"/>
                  <a:gd name="T49" fmla="*/ 0 h 1286"/>
                  <a:gd name="T50" fmla="*/ 161 w 1635"/>
                  <a:gd name="T51" fmla="*/ 24 h 1286"/>
                  <a:gd name="T52" fmla="*/ 155 w 1635"/>
                  <a:gd name="T53" fmla="*/ 25 h 1286"/>
                  <a:gd name="T54" fmla="*/ 47 w 1635"/>
                  <a:gd name="T55" fmla="*/ 129 h 1286"/>
                  <a:gd name="T56" fmla="*/ 8 w 1635"/>
                  <a:gd name="T57" fmla="*/ 413 h 1286"/>
                  <a:gd name="T58" fmla="*/ 92 w 1635"/>
                  <a:gd name="T59" fmla="*/ 777 h 1286"/>
                  <a:gd name="T60" fmla="*/ 309 w 1635"/>
                  <a:gd name="T61" fmla="*/ 1154 h 1286"/>
                  <a:gd name="T62" fmla="*/ 562 w 1635"/>
                  <a:gd name="T63" fmla="*/ 1286 h 1286"/>
                  <a:gd name="T64" fmla="*/ 746 w 1635"/>
                  <a:gd name="T65" fmla="*/ 1246 h 1286"/>
                  <a:gd name="T66" fmla="*/ 754 w 1635"/>
                  <a:gd name="T67" fmla="*/ 1243 h 1286"/>
                  <a:gd name="T68" fmla="*/ 755 w 1635"/>
                  <a:gd name="T69" fmla="*/ 1243 h 1286"/>
                  <a:gd name="T70" fmla="*/ 964 w 1635"/>
                  <a:gd name="T71" fmla="*/ 1112 h 1286"/>
                  <a:gd name="T72" fmla="*/ 965 w 1635"/>
                  <a:gd name="T73" fmla="*/ 1111 h 1286"/>
                  <a:gd name="T74" fmla="*/ 1069 w 1635"/>
                  <a:gd name="T75" fmla="*/ 965 h 1286"/>
                  <a:gd name="T76" fmla="*/ 1072 w 1635"/>
                  <a:gd name="T77" fmla="*/ 961 h 1286"/>
                  <a:gd name="T78" fmla="*/ 1073 w 1635"/>
                  <a:gd name="T79" fmla="*/ 960 h 1286"/>
                  <a:gd name="T80" fmla="*/ 1098 w 1635"/>
                  <a:gd name="T81" fmla="*/ 923 h 1286"/>
                  <a:gd name="T82" fmla="*/ 1124 w 1635"/>
                  <a:gd name="T83" fmla="*/ 884 h 1286"/>
                  <a:gd name="T84" fmla="*/ 1489 w 1635"/>
                  <a:gd name="T85" fmla="*/ 517 h 1286"/>
                  <a:gd name="T86" fmla="*/ 1490 w 1635"/>
                  <a:gd name="T87" fmla="*/ 516 h 1286"/>
                  <a:gd name="T88" fmla="*/ 1492 w 1635"/>
                  <a:gd name="T89" fmla="*/ 515 h 1286"/>
                  <a:gd name="T90" fmla="*/ 1497 w 1635"/>
                  <a:gd name="T91" fmla="*/ 512 h 1286"/>
                  <a:gd name="T92" fmla="*/ 1498 w 1635"/>
                  <a:gd name="T93" fmla="*/ 511 h 1286"/>
                  <a:gd name="T94" fmla="*/ 1631 w 1635"/>
                  <a:gd name="T95" fmla="*/ 357 h 1286"/>
                  <a:gd name="T96" fmla="*/ 1632 w 1635"/>
                  <a:gd name="T97" fmla="*/ 357 h 1286"/>
                  <a:gd name="T98" fmla="*/ 1632 w 1635"/>
                  <a:gd name="T99" fmla="*/ 305 h 1286"/>
                  <a:gd name="T100" fmla="*/ 1582 w 1635"/>
                  <a:gd name="T101" fmla="*/ 19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35" h="1286">
                    <a:moveTo>
                      <a:pt x="1582" y="190"/>
                    </a:moveTo>
                    <a:cubicBezTo>
                      <a:pt x="1563" y="168"/>
                      <a:pt x="1540" y="153"/>
                      <a:pt x="1517" y="146"/>
                    </a:cubicBezTo>
                    <a:cubicBezTo>
                      <a:pt x="1509" y="144"/>
                      <a:pt x="1500" y="143"/>
                      <a:pt x="1489" y="143"/>
                    </a:cubicBezTo>
                    <a:cubicBezTo>
                      <a:pt x="1474" y="143"/>
                      <a:pt x="1460" y="145"/>
                      <a:pt x="1449" y="147"/>
                    </a:cubicBezTo>
                    <a:cubicBezTo>
                      <a:pt x="1447" y="147"/>
                      <a:pt x="1444" y="148"/>
                      <a:pt x="1442" y="148"/>
                    </a:cubicBezTo>
                    <a:cubicBezTo>
                      <a:pt x="1439" y="149"/>
                      <a:pt x="1437" y="149"/>
                      <a:pt x="1434" y="149"/>
                    </a:cubicBezTo>
                    <a:cubicBezTo>
                      <a:pt x="1434" y="149"/>
                      <a:pt x="1434" y="149"/>
                      <a:pt x="1434" y="150"/>
                    </a:cubicBezTo>
                    <a:cubicBezTo>
                      <a:pt x="1434" y="150"/>
                      <a:pt x="1434" y="150"/>
                      <a:pt x="1433" y="150"/>
                    </a:cubicBezTo>
                    <a:cubicBezTo>
                      <a:pt x="1428" y="151"/>
                      <a:pt x="1422" y="152"/>
                      <a:pt x="1418" y="152"/>
                    </a:cubicBezTo>
                    <a:cubicBezTo>
                      <a:pt x="1418" y="152"/>
                      <a:pt x="1418" y="152"/>
                      <a:pt x="1417" y="153"/>
                    </a:cubicBezTo>
                    <a:cubicBezTo>
                      <a:pt x="1417" y="153"/>
                      <a:pt x="1417" y="153"/>
                      <a:pt x="1416" y="153"/>
                    </a:cubicBezTo>
                    <a:cubicBezTo>
                      <a:pt x="1387" y="157"/>
                      <a:pt x="1356" y="159"/>
                      <a:pt x="1322" y="159"/>
                    </a:cubicBezTo>
                    <a:cubicBezTo>
                      <a:pt x="1322" y="159"/>
                      <a:pt x="1322" y="159"/>
                      <a:pt x="1294" y="159"/>
                    </a:cubicBezTo>
                    <a:cubicBezTo>
                      <a:pt x="1294" y="159"/>
                      <a:pt x="1294" y="159"/>
                      <a:pt x="1292" y="159"/>
                    </a:cubicBezTo>
                    <a:cubicBezTo>
                      <a:pt x="1292" y="159"/>
                      <a:pt x="1292" y="159"/>
                      <a:pt x="1290" y="159"/>
                    </a:cubicBezTo>
                    <a:cubicBezTo>
                      <a:pt x="1285" y="159"/>
                      <a:pt x="1280" y="158"/>
                      <a:pt x="1275" y="158"/>
                    </a:cubicBezTo>
                    <a:cubicBezTo>
                      <a:pt x="1269" y="158"/>
                      <a:pt x="1263" y="158"/>
                      <a:pt x="1256" y="157"/>
                    </a:cubicBezTo>
                    <a:cubicBezTo>
                      <a:pt x="1199" y="155"/>
                      <a:pt x="1157" y="150"/>
                      <a:pt x="1118" y="140"/>
                    </a:cubicBezTo>
                    <a:cubicBezTo>
                      <a:pt x="1079" y="130"/>
                      <a:pt x="1043" y="115"/>
                      <a:pt x="1009" y="101"/>
                    </a:cubicBezTo>
                    <a:cubicBezTo>
                      <a:pt x="1001" y="98"/>
                      <a:pt x="993" y="95"/>
                      <a:pt x="985" y="92"/>
                    </a:cubicBezTo>
                    <a:cubicBezTo>
                      <a:pt x="844" y="36"/>
                      <a:pt x="627" y="0"/>
                      <a:pt x="433" y="0"/>
                    </a:cubicBezTo>
                    <a:cubicBezTo>
                      <a:pt x="425" y="0"/>
                      <a:pt x="417" y="0"/>
                      <a:pt x="410" y="1"/>
                    </a:cubicBezTo>
                    <a:cubicBezTo>
                      <a:pt x="410" y="1"/>
                      <a:pt x="410" y="1"/>
                      <a:pt x="406" y="1"/>
                    </a:cubicBezTo>
                    <a:cubicBezTo>
                      <a:pt x="406" y="1"/>
                      <a:pt x="406" y="1"/>
                      <a:pt x="402" y="1"/>
                    </a:cubicBezTo>
                    <a:cubicBezTo>
                      <a:pt x="391" y="0"/>
                      <a:pt x="379" y="0"/>
                      <a:pt x="366" y="0"/>
                    </a:cubicBezTo>
                    <a:cubicBezTo>
                      <a:pt x="283" y="0"/>
                      <a:pt x="214" y="8"/>
                      <a:pt x="161" y="24"/>
                    </a:cubicBezTo>
                    <a:cubicBezTo>
                      <a:pt x="161" y="24"/>
                      <a:pt x="161" y="24"/>
                      <a:pt x="155" y="25"/>
                    </a:cubicBezTo>
                    <a:cubicBezTo>
                      <a:pt x="110" y="41"/>
                      <a:pt x="73" y="77"/>
                      <a:pt x="47" y="129"/>
                    </a:cubicBezTo>
                    <a:cubicBezTo>
                      <a:pt x="14" y="199"/>
                      <a:pt x="0" y="297"/>
                      <a:pt x="8" y="413"/>
                    </a:cubicBezTo>
                    <a:cubicBezTo>
                      <a:pt x="15" y="529"/>
                      <a:pt x="44" y="654"/>
                      <a:pt x="92" y="777"/>
                    </a:cubicBezTo>
                    <a:cubicBezTo>
                      <a:pt x="154" y="941"/>
                      <a:pt x="227" y="1068"/>
                      <a:pt x="309" y="1154"/>
                    </a:cubicBezTo>
                    <a:cubicBezTo>
                      <a:pt x="387" y="1236"/>
                      <a:pt x="472" y="1281"/>
                      <a:pt x="562" y="1286"/>
                    </a:cubicBezTo>
                    <a:cubicBezTo>
                      <a:pt x="619" y="1286"/>
                      <a:pt x="681" y="1272"/>
                      <a:pt x="746" y="1246"/>
                    </a:cubicBezTo>
                    <a:cubicBezTo>
                      <a:pt x="746" y="1246"/>
                      <a:pt x="746" y="1246"/>
                      <a:pt x="754" y="1243"/>
                    </a:cubicBezTo>
                    <a:cubicBezTo>
                      <a:pt x="754" y="1243"/>
                      <a:pt x="754" y="1243"/>
                      <a:pt x="755" y="1243"/>
                    </a:cubicBezTo>
                    <a:cubicBezTo>
                      <a:pt x="832" y="1211"/>
                      <a:pt x="925" y="1159"/>
                      <a:pt x="964" y="1112"/>
                    </a:cubicBezTo>
                    <a:cubicBezTo>
                      <a:pt x="964" y="1112"/>
                      <a:pt x="964" y="1112"/>
                      <a:pt x="965" y="1111"/>
                    </a:cubicBezTo>
                    <a:cubicBezTo>
                      <a:pt x="1004" y="1066"/>
                      <a:pt x="1037" y="1015"/>
                      <a:pt x="1069" y="965"/>
                    </a:cubicBezTo>
                    <a:cubicBezTo>
                      <a:pt x="1069" y="965"/>
                      <a:pt x="1069" y="965"/>
                      <a:pt x="1072" y="961"/>
                    </a:cubicBezTo>
                    <a:cubicBezTo>
                      <a:pt x="1072" y="961"/>
                      <a:pt x="1072" y="961"/>
                      <a:pt x="1073" y="960"/>
                    </a:cubicBezTo>
                    <a:cubicBezTo>
                      <a:pt x="1081" y="948"/>
                      <a:pt x="1090" y="935"/>
                      <a:pt x="1098" y="923"/>
                    </a:cubicBezTo>
                    <a:cubicBezTo>
                      <a:pt x="1106" y="910"/>
                      <a:pt x="1115" y="897"/>
                      <a:pt x="1124" y="884"/>
                    </a:cubicBezTo>
                    <a:cubicBezTo>
                      <a:pt x="1222" y="742"/>
                      <a:pt x="1344" y="619"/>
                      <a:pt x="1489" y="517"/>
                    </a:cubicBezTo>
                    <a:cubicBezTo>
                      <a:pt x="1489" y="517"/>
                      <a:pt x="1489" y="517"/>
                      <a:pt x="1490" y="516"/>
                    </a:cubicBezTo>
                    <a:cubicBezTo>
                      <a:pt x="1490" y="516"/>
                      <a:pt x="1490" y="516"/>
                      <a:pt x="1492" y="515"/>
                    </a:cubicBezTo>
                    <a:cubicBezTo>
                      <a:pt x="1492" y="515"/>
                      <a:pt x="1492" y="515"/>
                      <a:pt x="1497" y="512"/>
                    </a:cubicBezTo>
                    <a:cubicBezTo>
                      <a:pt x="1497" y="512"/>
                      <a:pt x="1497" y="512"/>
                      <a:pt x="1498" y="511"/>
                    </a:cubicBezTo>
                    <a:cubicBezTo>
                      <a:pt x="1555" y="471"/>
                      <a:pt x="1619" y="426"/>
                      <a:pt x="1631" y="357"/>
                    </a:cubicBezTo>
                    <a:cubicBezTo>
                      <a:pt x="1631" y="357"/>
                      <a:pt x="1631" y="357"/>
                      <a:pt x="1632" y="357"/>
                    </a:cubicBezTo>
                    <a:cubicBezTo>
                      <a:pt x="1634" y="343"/>
                      <a:pt x="1635" y="323"/>
                      <a:pt x="1632" y="305"/>
                    </a:cubicBezTo>
                    <a:cubicBezTo>
                      <a:pt x="1624" y="267"/>
                      <a:pt x="1607" y="227"/>
                      <a:pt x="1582" y="190"/>
                    </a:cubicBezTo>
                    <a:close/>
                  </a:path>
                </a:pathLst>
              </a:custGeom>
              <a:solidFill>
                <a:srgbClr val="539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A4F4B260-B12C-8B58-6C89-706406D20174}"/>
              </a:ext>
            </a:extLst>
          </p:cNvPr>
          <p:cNvSpPr/>
          <p:nvPr/>
        </p:nvSpPr>
        <p:spPr>
          <a:xfrm>
            <a:off x="228805" y="5064946"/>
            <a:ext cx="11846654" cy="1470296"/>
          </a:xfrm>
          <a:prstGeom prst="rect">
            <a:avLst/>
          </a:prstGeom>
          <a:solidFill>
            <a:srgbClr val="FFFFFF">
              <a:lumMod val="85000"/>
              <a:alpha val="50015"/>
            </a:srgbClr>
          </a:solidFill>
          <a:ln w="10795" cap="flat" cmpd="sng" algn="ctr">
            <a:solidFill>
              <a:srgbClr val="294955">
                <a:shade val="15000"/>
              </a:srgbClr>
            </a:solidFill>
            <a:prstDash val="dash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Text 10">
            <a:extLst>
              <a:ext uri="{FF2B5EF4-FFF2-40B4-BE49-F238E27FC236}">
                <a16:creationId xmlns:a16="http://schemas.microsoft.com/office/drawing/2014/main" id="{B915F3B4-46E6-E1E0-6914-F85AFC181CD0}"/>
              </a:ext>
            </a:extLst>
          </p:cNvPr>
          <p:cNvSpPr/>
          <p:nvPr/>
        </p:nvSpPr>
        <p:spPr>
          <a:xfrm>
            <a:off x="432351" y="5109798"/>
            <a:ext cx="3166110" cy="2603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2050"/>
              </a:lnSpc>
              <a:buNone/>
            </a:pPr>
            <a:r>
              <a:rPr lang="en-US" sz="1400" b="1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ashboard Visual Component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 11">
            <a:extLst>
              <a:ext uri="{FF2B5EF4-FFF2-40B4-BE49-F238E27FC236}">
                <a16:creationId xmlns:a16="http://schemas.microsoft.com/office/drawing/2014/main" id="{5146DF15-F357-8478-8244-27A628969671}"/>
              </a:ext>
            </a:extLst>
          </p:cNvPr>
          <p:cNvSpPr/>
          <p:nvPr/>
        </p:nvSpPr>
        <p:spPr>
          <a:xfrm>
            <a:off x="432352" y="5527621"/>
            <a:ext cx="4023108" cy="2603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 algn="l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Trend line of productivity indicators by wav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Text 12">
            <a:extLst>
              <a:ext uri="{FF2B5EF4-FFF2-40B4-BE49-F238E27FC236}">
                <a16:creationId xmlns:a16="http://schemas.microsoft.com/office/drawing/2014/main" id="{86383F44-77FD-C87F-9821-DA60FBD95413}"/>
              </a:ext>
            </a:extLst>
          </p:cNvPr>
          <p:cNvSpPr/>
          <p:nvPr/>
        </p:nvSpPr>
        <p:spPr>
          <a:xfrm>
            <a:off x="4538186" y="5560963"/>
            <a:ext cx="5556073" cy="2603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 algn="l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Bar charts comparing control vs KPMD vs selling  non-KPMD offtakes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 13">
            <a:extLst>
              <a:ext uri="{FF2B5EF4-FFF2-40B4-BE49-F238E27FC236}">
                <a16:creationId xmlns:a16="http://schemas.microsoft.com/office/drawing/2014/main" id="{9F9CDF0F-5D92-434E-226E-4AF0C4E7E024}"/>
              </a:ext>
            </a:extLst>
          </p:cNvPr>
          <p:cNvSpPr/>
          <p:nvPr/>
        </p:nvSpPr>
        <p:spPr>
          <a:xfrm>
            <a:off x="383831" y="5874330"/>
            <a:ext cx="3825466" cy="15677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 algn="l">
              <a:lnSpc>
                <a:spcPts val="1750"/>
              </a:lnSpc>
              <a:buSzPct val="100000"/>
              <a:buChar char="•"/>
            </a:pPr>
            <a:r>
              <a:rPr lang="en-US" sz="14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Map view for disease hotspots identificati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2483EE-C246-35FB-2381-556D18A93DD5}"/>
              </a:ext>
            </a:extLst>
          </p:cNvPr>
          <p:cNvSpPr txBox="1"/>
          <p:nvPr/>
        </p:nvSpPr>
        <p:spPr>
          <a:xfrm>
            <a:off x="8941419" y="3206363"/>
            <a:ext cx="2600960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b="1" dirty="0"/>
              <a:t>Note: The dashboard  should be have sells to KPMD off takers  and None KPMD offtakes.    </a:t>
            </a:r>
          </a:p>
        </p:txBody>
      </p:sp>
    </p:spTree>
    <p:extLst>
      <p:ext uri="{BB962C8B-B14F-4D97-AF65-F5344CB8AC3E}">
        <p14:creationId xmlns:p14="http://schemas.microsoft.com/office/powerpoint/2010/main" val="4922436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8EA944-C6A2-375A-9B99-E0268475E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4410">
            <a:extLst>
              <a:ext uri="{FF2B5EF4-FFF2-40B4-BE49-F238E27FC236}">
                <a16:creationId xmlns:a16="http://schemas.microsoft.com/office/drawing/2014/main" id="{B9841D58-BBC1-0445-5899-02F904363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6996" y="46283"/>
            <a:ext cx="12185003" cy="928591"/>
          </a:xfrm>
          <a:prstGeom prst="rect">
            <a:avLst/>
          </a:prstGeom>
        </p:spPr>
      </p:pic>
      <p:sp>
        <p:nvSpPr>
          <p:cNvPr id="2" name="Text 0">
            <a:extLst>
              <a:ext uri="{FF2B5EF4-FFF2-40B4-BE49-F238E27FC236}">
                <a16:creationId xmlns:a16="http://schemas.microsoft.com/office/drawing/2014/main" id="{CC3B1AAE-0C90-0675-360A-948FC16EAB89}"/>
              </a:ext>
            </a:extLst>
          </p:cNvPr>
          <p:cNvSpPr/>
          <p:nvPr/>
        </p:nvSpPr>
        <p:spPr>
          <a:xfrm>
            <a:off x="220049" y="366138"/>
            <a:ext cx="3731895" cy="43410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3400"/>
              </a:lnSpc>
              <a:buNone/>
            </a:pPr>
            <a:r>
              <a:rPr lang="en-US" sz="3200" dirty="0">
                <a:solidFill>
                  <a:srgbClr val="373B48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2. Pastoral Livelihoods</a:t>
            </a:r>
            <a:endParaRPr lang="en-US" sz="3200" dirty="0"/>
          </a:p>
        </p:txBody>
      </p:sp>
      <p:sp>
        <p:nvSpPr>
          <p:cNvPr id="22" name="Text 1">
            <a:extLst>
              <a:ext uri="{FF2B5EF4-FFF2-40B4-BE49-F238E27FC236}">
                <a16:creationId xmlns:a16="http://schemas.microsoft.com/office/drawing/2014/main" id="{6BE37A8C-EEC6-1FFD-2ED8-0CD9DDCA7890}"/>
              </a:ext>
            </a:extLst>
          </p:cNvPr>
          <p:cNvSpPr/>
          <p:nvPr/>
        </p:nvSpPr>
        <p:spPr>
          <a:xfrm>
            <a:off x="220049" y="1008600"/>
            <a:ext cx="13042821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b="1" i="1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Drawn from Section E (offtake income), Section H (credit access), Section I (food security rCSI/HFIAS).</a:t>
            </a:r>
            <a:endParaRPr lang="en-US" sz="1200" b="1" dirty="0"/>
          </a:p>
        </p:txBody>
      </p:sp>
      <p:sp>
        <p:nvSpPr>
          <p:cNvPr id="24" name="Shape 2">
            <a:extLst>
              <a:ext uri="{FF2B5EF4-FFF2-40B4-BE49-F238E27FC236}">
                <a16:creationId xmlns:a16="http://schemas.microsoft.com/office/drawing/2014/main" id="{A28F7652-99E7-FC3C-D9BF-DECDBF34848C}"/>
              </a:ext>
            </a:extLst>
          </p:cNvPr>
          <p:cNvSpPr/>
          <p:nvPr/>
        </p:nvSpPr>
        <p:spPr>
          <a:xfrm>
            <a:off x="216239" y="1387099"/>
            <a:ext cx="6451997" cy="1371124"/>
          </a:xfrm>
          <a:prstGeom prst="roundRect">
            <a:avLst>
              <a:gd name="adj" fmla="val 4256"/>
            </a:avLst>
          </a:prstGeom>
          <a:solidFill>
            <a:srgbClr val="E2E4E9"/>
          </a:solidFill>
          <a:ln w="7620">
            <a:solidFill>
              <a:srgbClr val="C8CACF"/>
            </a:solidFill>
            <a:prstDash val="solid"/>
          </a:ln>
        </p:spPr>
        <p:txBody>
          <a:bodyPr/>
          <a:lstStyle/>
          <a:p>
            <a:endParaRPr lang="en-US" sz="1200"/>
          </a:p>
        </p:txBody>
      </p:sp>
      <p:sp>
        <p:nvSpPr>
          <p:cNvPr id="27" name="Text 4">
            <a:extLst>
              <a:ext uri="{FF2B5EF4-FFF2-40B4-BE49-F238E27FC236}">
                <a16:creationId xmlns:a16="http://schemas.microsoft.com/office/drawing/2014/main" id="{95281DDC-A149-0823-4C71-BDCD1618E6BE}"/>
              </a:ext>
            </a:extLst>
          </p:cNvPr>
          <p:cNvSpPr/>
          <p:nvPr/>
        </p:nvSpPr>
        <p:spPr>
          <a:xfrm>
            <a:off x="775573" y="1678501"/>
            <a:ext cx="1736646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Household Income</a:t>
            </a:r>
            <a:endParaRPr lang="en-US" sz="1200" dirty="0"/>
          </a:p>
        </p:txBody>
      </p:sp>
      <p:sp>
        <p:nvSpPr>
          <p:cNvPr id="28" name="Text 5">
            <a:extLst>
              <a:ext uri="{FF2B5EF4-FFF2-40B4-BE49-F238E27FC236}">
                <a16:creationId xmlns:a16="http://schemas.microsoft.com/office/drawing/2014/main" id="{A28AF8B8-5BCC-4666-09F4-363D6F5716FC}"/>
              </a:ext>
            </a:extLst>
          </p:cNvPr>
          <p:cNvSpPr/>
          <p:nvPr/>
        </p:nvSpPr>
        <p:spPr>
          <a:xfrm>
            <a:off x="246236" y="1949854"/>
            <a:ext cx="6159103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Percentage income from livestock, average KSh from sales by channel, diversification patterns.</a:t>
            </a:r>
            <a:endParaRPr lang="en-US" sz="1200" dirty="0"/>
          </a:p>
        </p:txBody>
      </p:sp>
      <p:sp>
        <p:nvSpPr>
          <p:cNvPr id="29" name="Shape 6">
            <a:extLst>
              <a:ext uri="{FF2B5EF4-FFF2-40B4-BE49-F238E27FC236}">
                <a16:creationId xmlns:a16="http://schemas.microsoft.com/office/drawing/2014/main" id="{9C50D715-0449-A7F0-4F30-352B1FC0C79F}"/>
              </a:ext>
            </a:extLst>
          </p:cNvPr>
          <p:cNvSpPr/>
          <p:nvPr/>
        </p:nvSpPr>
        <p:spPr>
          <a:xfrm>
            <a:off x="6855248" y="1369716"/>
            <a:ext cx="5267339" cy="1371124"/>
          </a:xfrm>
          <a:prstGeom prst="roundRect">
            <a:avLst>
              <a:gd name="adj" fmla="val 4256"/>
            </a:avLst>
          </a:prstGeom>
          <a:solidFill>
            <a:srgbClr val="E2E4E9"/>
          </a:solidFill>
          <a:ln w="7620">
            <a:solidFill>
              <a:srgbClr val="C8CACF"/>
            </a:solidFill>
            <a:prstDash val="solid"/>
          </a:ln>
        </p:spPr>
        <p:txBody>
          <a:bodyPr/>
          <a:lstStyle/>
          <a:p>
            <a:endParaRPr lang="en-US" sz="1200"/>
          </a:p>
        </p:txBody>
      </p:sp>
      <p:sp>
        <p:nvSpPr>
          <p:cNvPr id="32" name="Text 8">
            <a:extLst>
              <a:ext uri="{FF2B5EF4-FFF2-40B4-BE49-F238E27FC236}">
                <a16:creationId xmlns:a16="http://schemas.microsoft.com/office/drawing/2014/main" id="{98592F82-83BF-2038-8498-45A5A886AAA3}"/>
              </a:ext>
            </a:extLst>
          </p:cNvPr>
          <p:cNvSpPr/>
          <p:nvPr/>
        </p:nvSpPr>
        <p:spPr>
          <a:xfrm>
            <a:off x="7475988" y="1497266"/>
            <a:ext cx="2123956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Food Security &amp; Nutrition</a:t>
            </a:r>
            <a:endParaRPr lang="en-US" sz="1200" dirty="0"/>
          </a:p>
        </p:txBody>
      </p:sp>
      <p:sp>
        <p:nvSpPr>
          <p:cNvPr id="33" name="Text 9">
            <a:extLst>
              <a:ext uri="{FF2B5EF4-FFF2-40B4-BE49-F238E27FC236}">
                <a16:creationId xmlns:a16="http://schemas.microsoft.com/office/drawing/2014/main" id="{C62C6F55-7D93-A3C2-F4E5-A74F7D63C4E5}"/>
              </a:ext>
            </a:extLst>
          </p:cNvPr>
          <p:cNvSpPr/>
          <p:nvPr/>
        </p:nvSpPr>
        <p:spPr>
          <a:xfrm>
            <a:off x="6901597" y="2039918"/>
            <a:ext cx="6159103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rCSI, HFIAS scores, dietary diversity measures, nutritional outcomes tracking.</a:t>
            </a:r>
            <a:endParaRPr lang="en-US" sz="1200" dirty="0"/>
          </a:p>
        </p:txBody>
      </p:sp>
      <p:sp>
        <p:nvSpPr>
          <p:cNvPr id="34" name="Shape 10">
            <a:extLst>
              <a:ext uri="{FF2B5EF4-FFF2-40B4-BE49-F238E27FC236}">
                <a16:creationId xmlns:a16="http://schemas.microsoft.com/office/drawing/2014/main" id="{725D33DB-4B0D-D0D0-CCCF-C9823B523DE8}"/>
              </a:ext>
            </a:extLst>
          </p:cNvPr>
          <p:cNvSpPr/>
          <p:nvPr/>
        </p:nvSpPr>
        <p:spPr>
          <a:xfrm>
            <a:off x="220049" y="2865061"/>
            <a:ext cx="6451997" cy="1371124"/>
          </a:xfrm>
          <a:prstGeom prst="roundRect">
            <a:avLst>
              <a:gd name="adj" fmla="val 4256"/>
            </a:avLst>
          </a:prstGeom>
          <a:solidFill>
            <a:srgbClr val="E2E4E9"/>
          </a:solidFill>
          <a:ln w="7620">
            <a:solidFill>
              <a:srgbClr val="C8CACF"/>
            </a:solidFill>
            <a:prstDash val="solid"/>
          </a:ln>
        </p:spPr>
        <p:txBody>
          <a:bodyPr/>
          <a:lstStyle/>
          <a:p>
            <a:endParaRPr lang="en-US" sz="1200"/>
          </a:p>
        </p:txBody>
      </p:sp>
      <p:sp>
        <p:nvSpPr>
          <p:cNvPr id="37" name="Text 12">
            <a:extLst>
              <a:ext uri="{FF2B5EF4-FFF2-40B4-BE49-F238E27FC236}">
                <a16:creationId xmlns:a16="http://schemas.microsoft.com/office/drawing/2014/main" id="{919AF292-08A0-2CF4-6F65-95B00AF893DB}"/>
              </a:ext>
            </a:extLst>
          </p:cNvPr>
          <p:cNvSpPr/>
          <p:nvPr/>
        </p:nvSpPr>
        <p:spPr>
          <a:xfrm>
            <a:off x="929720" y="3105321"/>
            <a:ext cx="1736646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Access to Finance</a:t>
            </a:r>
            <a:endParaRPr lang="en-US" sz="1200" dirty="0"/>
          </a:p>
        </p:txBody>
      </p:sp>
      <p:sp>
        <p:nvSpPr>
          <p:cNvPr id="38" name="Text 13">
            <a:extLst>
              <a:ext uri="{FF2B5EF4-FFF2-40B4-BE49-F238E27FC236}">
                <a16:creationId xmlns:a16="http://schemas.microsoft.com/office/drawing/2014/main" id="{66EBFF8C-E94B-5B07-CA46-16C86B8C3D37}"/>
              </a:ext>
            </a:extLst>
          </p:cNvPr>
          <p:cNvSpPr/>
          <p:nvPr/>
        </p:nvSpPr>
        <p:spPr>
          <a:xfrm>
            <a:off x="350431" y="3584025"/>
            <a:ext cx="6159103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Percentage HHs with credit, savings, loans, repayment rates, financial inclusion metrics.</a:t>
            </a:r>
            <a:endParaRPr lang="en-US" sz="1200" dirty="0"/>
          </a:p>
        </p:txBody>
      </p:sp>
      <p:sp>
        <p:nvSpPr>
          <p:cNvPr id="39" name="Shape 14">
            <a:extLst>
              <a:ext uri="{FF2B5EF4-FFF2-40B4-BE49-F238E27FC236}">
                <a16:creationId xmlns:a16="http://schemas.microsoft.com/office/drawing/2014/main" id="{3F39A4C2-91A4-18CD-794B-0E8F8168BE46}"/>
              </a:ext>
            </a:extLst>
          </p:cNvPr>
          <p:cNvSpPr/>
          <p:nvPr/>
        </p:nvSpPr>
        <p:spPr>
          <a:xfrm>
            <a:off x="6810871" y="2922957"/>
            <a:ext cx="5161080" cy="1371124"/>
          </a:xfrm>
          <a:prstGeom prst="roundRect">
            <a:avLst>
              <a:gd name="adj" fmla="val 4256"/>
            </a:avLst>
          </a:prstGeom>
          <a:solidFill>
            <a:srgbClr val="E2E4E9"/>
          </a:solidFill>
          <a:ln w="7620">
            <a:solidFill>
              <a:srgbClr val="C8CACF"/>
            </a:solidFill>
            <a:prstDash val="solid"/>
          </a:ln>
        </p:spPr>
        <p:txBody>
          <a:bodyPr/>
          <a:lstStyle/>
          <a:p>
            <a:endParaRPr lang="en-US" sz="1200"/>
          </a:p>
        </p:txBody>
      </p:sp>
      <p:sp>
        <p:nvSpPr>
          <p:cNvPr id="42" name="Text 16">
            <a:extLst>
              <a:ext uri="{FF2B5EF4-FFF2-40B4-BE49-F238E27FC236}">
                <a16:creationId xmlns:a16="http://schemas.microsoft.com/office/drawing/2014/main" id="{50AB7186-D17A-3D16-5DF9-15706E423FD9}"/>
              </a:ext>
            </a:extLst>
          </p:cNvPr>
          <p:cNvSpPr/>
          <p:nvPr/>
        </p:nvSpPr>
        <p:spPr>
          <a:xfrm>
            <a:off x="6908460" y="3017797"/>
            <a:ext cx="1736646" cy="21705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Resilience</a:t>
            </a:r>
            <a:endParaRPr lang="en-US" sz="1200" dirty="0"/>
          </a:p>
        </p:txBody>
      </p:sp>
      <p:sp>
        <p:nvSpPr>
          <p:cNvPr id="43" name="Text 17">
            <a:extLst>
              <a:ext uri="{FF2B5EF4-FFF2-40B4-BE49-F238E27FC236}">
                <a16:creationId xmlns:a16="http://schemas.microsoft.com/office/drawing/2014/main" id="{85CF972E-D7D7-196A-B99C-39B695B3A681}"/>
              </a:ext>
            </a:extLst>
          </p:cNvPr>
          <p:cNvSpPr/>
          <p:nvPr/>
        </p:nvSpPr>
        <p:spPr>
          <a:xfrm>
            <a:off x="6810871" y="3409491"/>
            <a:ext cx="6159103" cy="2222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Proportion relying on savings/credit vs negative coping (borrowing food, </a:t>
            </a:r>
          </a:p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reducing meals).</a:t>
            </a:r>
            <a:endParaRPr lang="en-US" sz="1200" dirty="0"/>
          </a:p>
        </p:txBody>
      </p:sp>
      <p:sp>
        <p:nvSpPr>
          <p:cNvPr id="44" name="Text 18">
            <a:extLst>
              <a:ext uri="{FF2B5EF4-FFF2-40B4-BE49-F238E27FC236}">
                <a16:creationId xmlns:a16="http://schemas.microsoft.com/office/drawing/2014/main" id="{100BE107-B455-3850-1FF8-8CB6A7376471}"/>
              </a:ext>
            </a:extLst>
          </p:cNvPr>
          <p:cNvSpPr/>
          <p:nvPr/>
        </p:nvSpPr>
        <p:spPr>
          <a:xfrm>
            <a:off x="220049" y="4476533"/>
            <a:ext cx="3166110" cy="2603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2050"/>
              </a:lnSpc>
              <a:buNone/>
            </a:pPr>
            <a:r>
              <a:rPr lang="en-US" sz="1200" dirty="0">
                <a:solidFill>
                  <a:srgbClr val="373B48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Dashboard Visual Components</a:t>
            </a:r>
            <a:endParaRPr lang="en-US" sz="1200" dirty="0"/>
          </a:p>
        </p:txBody>
      </p:sp>
      <p:sp>
        <p:nvSpPr>
          <p:cNvPr id="45" name="Text 19">
            <a:extLst>
              <a:ext uri="{FF2B5EF4-FFF2-40B4-BE49-F238E27FC236}">
                <a16:creationId xmlns:a16="http://schemas.microsoft.com/office/drawing/2014/main" id="{DBB62E80-59D7-D16A-6456-FAE70EF58D20}"/>
              </a:ext>
            </a:extLst>
          </p:cNvPr>
          <p:cNvSpPr/>
          <p:nvPr/>
        </p:nvSpPr>
        <p:spPr>
          <a:xfrm>
            <a:off x="246237" y="4900313"/>
            <a:ext cx="5025011" cy="44405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 algn="l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Livelihood scorecard (Income ↑, Food Security ↑, Credit Access ↑)</a:t>
            </a:r>
            <a:endParaRPr lang="en-US" sz="1200" dirty="0"/>
          </a:p>
        </p:txBody>
      </p:sp>
      <p:sp>
        <p:nvSpPr>
          <p:cNvPr id="46" name="Text 20">
            <a:extLst>
              <a:ext uri="{FF2B5EF4-FFF2-40B4-BE49-F238E27FC236}">
                <a16:creationId xmlns:a16="http://schemas.microsoft.com/office/drawing/2014/main" id="{E60B07E1-4AE2-28A0-F92F-490771EA1D34}"/>
              </a:ext>
            </a:extLst>
          </p:cNvPr>
          <p:cNvSpPr/>
          <p:nvPr/>
        </p:nvSpPr>
        <p:spPr>
          <a:xfrm>
            <a:off x="220050" y="5216148"/>
            <a:ext cx="5051198" cy="38154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 algn="l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Waterfall chart: HH income by livestock vs other sources</a:t>
            </a:r>
            <a:endParaRPr lang="en-US" sz="1200" dirty="0"/>
          </a:p>
        </p:txBody>
      </p:sp>
      <p:sp>
        <p:nvSpPr>
          <p:cNvPr id="47" name="Text 21">
            <a:extLst>
              <a:ext uri="{FF2B5EF4-FFF2-40B4-BE49-F238E27FC236}">
                <a16:creationId xmlns:a16="http://schemas.microsoft.com/office/drawing/2014/main" id="{DC503F13-1A5F-501C-0A0D-CE1E85223704}"/>
              </a:ext>
            </a:extLst>
          </p:cNvPr>
          <p:cNvSpPr/>
          <p:nvPr/>
        </p:nvSpPr>
        <p:spPr>
          <a:xfrm>
            <a:off x="220050" y="5487017"/>
            <a:ext cx="4109904" cy="18872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 algn="l">
              <a:lnSpc>
                <a:spcPts val="1750"/>
              </a:lnSpc>
              <a:buSzPct val="100000"/>
              <a:buChar char="•"/>
            </a:pPr>
            <a:r>
              <a:rPr lang="en-US" sz="1200" dirty="0">
                <a:solidFill>
                  <a:srgbClr val="52586B"/>
                </a:solidFill>
                <a:latin typeface="Funnel Sans" pitchFamily="34" charset="0"/>
                <a:ea typeface="Funnel Sans" pitchFamily="34" charset="-122"/>
                <a:cs typeface="Funnel Sans" pitchFamily="34" charset="-120"/>
              </a:rPr>
              <a:t>Resilience radar chart showing coping strategies</a:t>
            </a:r>
            <a:endParaRPr lang="en-US" sz="1200" dirty="0"/>
          </a:p>
        </p:txBody>
      </p:sp>
      <p:grpSp>
        <p:nvGrpSpPr>
          <p:cNvPr id="48" name="bcgIcons_Business optimization ">
            <a:extLst>
              <a:ext uri="{FF2B5EF4-FFF2-40B4-BE49-F238E27FC236}">
                <a16:creationId xmlns:a16="http://schemas.microsoft.com/office/drawing/2014/main" id="{6E460024-7DF0-1D62-4F00-1D3C6118F398}"/>
              </a:ext>
            </a:extLst>
          </p:cNvPr>
          <p:cNvGrpSpPr>
            <a:grpSpLocks noChangeAspect="1"/>
          </p:cNvGrpSpPr>
          <p:nvPr/>
        </p:nvGrpSpPr>
        <p:grpSpPr>
          <a:xfrm>
            <a:off x="289853" y="2959294"/>
            <a:ext cx="569883" cy="569883"/>
            <a:chOff x="5273675" y="2606675"/>
            <a:chExt cx="1644650" cy="1644650"/>
          </a:xfrm>
        </p:grpSpPr>
        <p:sp>
          <p:nvSpPr>
            <p:cNvPr id="49" name="AutoShape 3">
              <a:extLst>
                <a:ext uri="{FF2B5EF4-FFF2-40B4-BE49-F238E27FC236}">
                  <a16:creationId xmlns:a16="http://schemas.microsoft.com/office/drawing/2014/main" id="{2B675380-E7E4-A86D-16EE-D423A833B41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2FF446D-845C-4030-7709-0B435B5F7B97}"/>
                </a:ext>
              </a:extLst>
            </p:cNvPr>
            <p:cNvGrpSpPr/>
            <p:nvPr/>
          </p:nvGrpSpPr>
          <p:grpSpPr>
            <a:xfrm>
              <a:off x="5448499" y="2803525"/>
              <a:ext cx="1295201" cy="1277938"/>
              <a:chOff x="5448499" y="2803525"/>
              <a:chExt cx="1295201" cy="1277938"/>
            </a:xfrm>
          </p:grpSpPr>
          <p:sp>
            <p:nvSpPr>
              <p:cNvPr id="51" name="Freeform 36">
                <a:extLst>
                  <a:ext uri="{FF2B5EF4-FFF2-40B4-BE49-F238E27FC236}">
                    <a16:creationId xmlns:a16="http://schemas.microsoft.com/office/drawing/2014/main" id="{CA3CB700-5705-D81B-9DD3-AD33DFA68521}"/>
                  </a:ext>
                </a:extLst>
              </p:cNvPr>
              <p:cNvSpPr/>
              <p:nvPr/>
            </p:nvSpPr>
            <p:spPr bwMode="auto">
              <a:xfrm>
                <a:off x="5448499" y="3108325"/>
                <a:ext cx="1295201" cy="973138"/>
              </a:xfrm>
              <a:custGeom>
                <a:avLst/>
                <a:gdLst>
                  <a:gd name="connsiteX0" fmla="*/ 848020 w 1295201"/>
                  <a:gd name="connsiteY0" fmla="*/ 647700 h 973138"/>
                  <a:gd name="connsiteX1" fmla="*/ 874350 w 1295201"/>
                  <a:gd name="connsiteY1" fmla="*/ 647700 h 973138"/>
                  <a:gd name="connsiteX2" fmla="*/ 874350 w 1295201"/>
                  <a:gd name="connsiteY2" fmla="*/ 666232 h 973138"/>
                  <a:gd name="connsiteX3" fmla="*/ 907086 w 1295201"/>
                  <a:gd name="connsiteY3" fmla="*/ 676210 h 973138"/>
                  <a:gd name="connsiteX4" fmla="*/ 897834 w 1295201"/>
                  <a:gd name="connsiteY4" fmla="*/ 701157 h 973138"/>
                  <a:gd name="connsiteX5" fmla="*/ 863676 w 1295201"/>
                  <a:gd name="connsiteY5" fmla="*/ 689753 h 973138"/>
                  <a:gd name="connsiteX6" fmla="*/ 847308 w 1295201"/>
                  <a:gd name="connsiteY6" fmla="*/ 695455 h 973138"/>
                  <a:gd name="connsiteX7" fmla="*/ 841615 w 1295201"/>
                  <a:gd name="connsiteY7" fmla="*/ 708997 h 973138"/>
                  <a:gd name="connsiteX8" fmla="*/ 873639 w 1295201"/>
                  <a:gd name="connsiteY8" fmla="*/ 738220 h 973138"/>
                  <a:gd name="connsiteX9" fmla="*/ 899258 w 1295201"/>
                  <a:gd name="connsiteY9" fmla="*/ 753188 h 973138"/>
                  <a:gd name="connsiteX10" fmla="*/ 909932 w 1295201"/>
                  <a:gd name="connsiteY10" fmla="*/ 768868 h 973138"/>
                  <a:gd name="connsiteX11" fmla="*/ 914202 w 1295201"/>
                  <a:gd name="connsiteY11" fmla="*/ 788113 h 973138"/>
                  <a:gd name="connsiteX12" fmla="*/ 904239 w 1295201"/>
                  <a:gd name="connsiteY12" fmla="*/ 815910 h 973138"/>
                  <a:gd name="connsiteX13" fmla="*/ 874350 w 1295201"/>
                  <a:gd name="connsiteY13" fmla="*/ 831591 h 973138"/>
                  <a:gd name="connsiteX14" fmla="*/ 874350 w 1295201"/>
                  <a:gd name="connsiteY14" fmla="*/ 857250 h 973138"/>
                  <a:gd name="connsiteX15" fmla="*/ 848020 w 1295201"/>
                  <a:gd name="connsiteY15" fmla="*/ 857250 h 973138"/>
                  <a:gd name="connsiteX16" fmla="*/ 848020 w 1295201"/>
                  <a:gd name="connsiteY16" fmla="*/ 833729 h 973138"/>
                  <a:gd name="connsiteX17" fmla="*/ 811014 w 1295201"/>
                  <a:gd name="connsiteY17" fmla="*/ 822325 h 973138"/>
                  <a:gd name="connsiteX18" fmla="*/ 822401 w 1295201"/>
                  <a:gd name="connsiteY18" fmla="*/ 795953 h 973138"/>
                  <a:gd name="connsiteX19" fmla="*/ 857983 w 1295201"/>
                  <a:gd name="connsiteY19" fmla="*/ 808070 h 973138"/>
                  <a:gd name="connsiteX20" fmla="*/ 884313 w 1295201"/>
                  <a:gd name="connsiteY20" fmla="*/ 790251 h 973138"/>
                  <a:gd name="connsiteX21" fmla="*/ 877197 w 1295201"/>
                  <a:gd name="connsiteY21" fmla="*/ 774571 h 973138"/>
                  <a:gd name="connsiteX22" fmla="*/ 851578 w 1295201"/>
                  <a:gd name="connsiteY22" fmla="*/ 757464 h 973138"/>
                  <a:gd name="connsiteX23" fmla="*/ 825959 w 1295201"/>
                  <a:gd name="connsiteY23" fmla="*/ 742497 h 973138"/>
                  <a:gd name="connsiteX24" fmla="*/ 815284 w 1295201"/>
                  <a:gd name="connsiteY24" fmla="*/ 728241 h 973138"/>
                  <a:gd name="connsiteX25" fmla="*/ 811726 w 1295201"/>
                  <a:gd name="connsiteY25" fmla="*/ 709710 h 973138"/>
                  <a:gd name="connsiteX26" fmla="*/ 821689 w 1295201"/>
                  <a:gd name="connsiteY26" fmla="*/ 683338 h 973138"/>
                  <a:gd name="connsiteX27" fmla="*/ 848020 w 1295201"/>
                  <a:gd name="connsiteY27" fmla="*/ 667657 h 973138"/>
                  <a:gd name="connsiteX28" fmla="*/ 848020 w 1295201"/>
                  <a:gd name="connsiteY28" fmla="*/ 647700 h 973138"/>
                  <a:gd name="connsiteX29" fmla="*/ 463351 w 1295201"/>
                  <a:gd name="connsiteY29" fmla="*/ 565150 h 973138"/>
                  <a:gd name="connsiteX30" fmla="*/ 463351 w 1295201"/>
                  <a:gd name="connsiteY30" fmla="*/ 941388 h 973138"/>
                  <a:gd name="connsiteX31" fmla="*/ 1263451 w 1295201"/>
                  <a:gd name="connsiteY31" fmla="*/ 941388 h 973138"/>
                  <a:gd name="connsiteX32" fmla="*/ 1263451 w 1295201"/>
                  <a:gd name="connsiteY32" fmla="*/ 565150 h 973138"/>
                  <a:gd name="connsiteX33" fmla="*/ 463351 w 1295201"/>
                  <a:gd name="connsiteY33" fmla="*/ 565150 h 973138"/>
                  <a:gd name="connsiteX34" fmla="*/ 447303 w 1295201"/>
                  <a:gd name="connsiteY34" fmla="*/ 533400 h 973138"/>
                  <a:gd name="connsiteX35" fmla="*/ 1279499 w 1295201"/>
                  <a:gd name="connsiteY35" fmla="*/ 533400 h 973138"/>
                  <a:gd name="connsiteX36" fmla="*/ 1295201 w 1295201"/>
                  <a:gd name="connsiteY36" fmla="*/ 548440 h 973138"/>
                  <a:gd name="connsiteX37" fmla="*/ 1295201 w 1295201"/>
                  <a:gd name="connsiteY37" fmla="*/ 957382 h 973138"/>
                  <a:gd name="connsiteX38" fmla="*/ 1279499 w 1295201"/>
                  <a:gd name="connsiteY38" fmla="*/ 973138 h 973138"/>
                  <a:gd name="connsiteX39" fmla="*/ 447303 w 1295201"/>
                  <a:gd name="connsiteY39" fmla="*/ 973138 h 973138"/>
                  <a:gd name="connsiteX40" fmla="*/ 431601 w 1295201"/>
                  <a:gd name="connsiteY40" fmla="*/ 957382 h 973138"/>
                  <a:gd name="connsiteX41" fmla="*/ 431601 w 1295201"/>
                  <a:gd name="connsiteY41" fmla="*/ 548440 h 973138"/>
                  <a:gd name="connsiteX42" fmla="*/ 447303 w 1295201"/>
                  <a:gd name="connsiteY42" fmla="*/ 533400 h 973138"/>
                  <a:gd name="connsiteX43" fmla="*/ 98208 w 1295201"/>
                  <a:gd name="connsiteY43" fmla="*/ 284163 h 973138"/>
                  <a:gd name="connsiteX44" fmla="*/ 111778 w 1295201"/>
                  <a:gd name="connsiteY44" fmla="*/ 297725 h 973138"/>
                  <a:gd name="connsiteX45" fmla="*/ 190345 w 1295201"/>
                  <a:gd name="connsiteY45" fmla="*/ 376243 h 973138"/>
                  <a:gd name="connsiteX46" fmla="*/ 193202 w 1295201"/>
                  <a:gd name="connsiteY46" fmla="*/ 401939 h 973138"/>
                  <a:gd name="connsiteX47" fmla="*/ 178203 w 1295201"/>
                  <a:gd name="connsiteY47" fmla="*/ 409077 h 973138"/>
                  <a:gd name="connsiteX48" fmla="*/ 166775 w 1295201"/>
                  <a:gd name="connsiteY48" fmla="*/ 405508 h 973138"/>
                  <a:gd name="connsiteX49" fmla="*/ 117492 w 1295201"/>
                  <a:gd name="connsiteY49" fmla="*/ 356256 h 973138"/>
                  <a:gd name="connsiteX50" fmla="*/ 117492 w 1295201"/>
                  <a:gd name="connsiteY50" fmla="*/ 735282 h 973138"/>
                  <a:gd name="connsiteX51" fmla="*/ 400331 w 1295201"/>
                  <a:gd name="connsiteY51" fmla="*/ 735282 h 973138"/>
                  <a:gd name="connsiteX52" fmla="*/ 418902 w 1295201"/>
                  <a:gd name="connsiteY52" fmla="*/ 754554 h 973138"/>
                  <a:gd name="connsiteX53" fmla="*/ 400331 w 1295201"/>
                  <a:gd name="connsiteY53" fmla="*/ 773113 h 973138"/>
                  <a:gd name="connsiteX54" fmla="*/ 79637 w 1295201"/>
                  <a:gd name="connsiteY54" fmla="*/ 773113 h 973138"/>
                  <a:gd name="connsiteX55" fmla="*/ 79637 w 1295201"/>
                  <a:gd name="connsiteY55" fmla="*/ 356256 h 973138"/>
                  <a:gd name="connsiteX56" fmla="*/ 31783 w 1295201"/>
                  <a:gd name="connsiteY56" fmla="*/ 403367 h 973138"/>
                  <a:gd name="connsiteX57" fmla="*/ 5356 w 1295201"/>
                  <a:gd name="connsiteY57" fmla="*/ 403367 h 973138"/>
                  <a:gd name="connsiteX58" fmla="*/ 5356 w 1295201"/>
                  <a:gd name="connsiteY58" fmla="*/ 376957 h 973138"/>
                  <a:gd name="connsiteX59" fmla="*/ 98208 w 1295201"/>
                  <a:gd name="connsiteY59" fmla="*/ 284163 h 973138"/>
                  <a:gd name="connsiteX60" fmla="*/ 737502 w 1295201"/>
                  <a:gd name="connsiteY60" fmla="*/ 0 h 973138"/>
                  <a:gd name="connsiteX61" fmla="*/ 1058075 w 1295201"/>
                  <a:gd name="connsiteY61" fmla="*/ 0 h 973138"/>
                  <a:gd name="connsiteX62" fmla="*/ 1058075 w 1295201"/>
                  <a:gd name="connsiteY62" fmla="*/ 412272 h 973138"/>
                  <a:gd name="connsiteX63" fmla="*/ 1104483 w 1295201"/>
                  <a:gd name="connsiteY63" fmla="*/ 366701 h 973138"/>
                  <a:gd name="connsiteX64" fmla="*/ 1130900 w 1295201"/>
                  <a:gd name="connsiteY64" fmla="*/ 367413 h 973138"/>
                  <a:gd name="connsiteX65" fmla="*/ 1130900 w 1295201"/>
                  <a:gd name="connsiteY65" fmla="*/ 393759 h 973138"/>
                  <a:gd name="connsiteX66" fmla="*/ 1055219 w 1295201"/>
                  <a:gd name="connsiteY66" fmla="*/ 467811 h 973138"/>
                  <a:gd name="connsiteX67" fmla="*/ 1049507 w 1295201"/>
                  <a:gd name="connsiteY67" fmla="*/ 473508 h 973138"/>
                  <a:gd name="connsiteX68" fmla="*/ 1038797 w 1295201"/>
                  <a:gd name="connsiteY68" fmla="*/ 484188 h 973138"/>
                  <a:gd name="connsiteX69" fmla="*/ 1025232 w 1295201"/>
                  <a:gd name="connsiteY69" fmla="*/ 470659 h 973138"/>
                  <a:gd name="connsiteX70" fmla="*/ 948123 w 1295201"/>
                  <a:gd name="connsiteY70" fmla="*/ 394471 h 973138"/>
                  <a:gd name="connsiteX71" fmla="*/ 944554 w 1295201"/>
                  <a:gd name="connsiteY71" fmla="*/ 368837 h 973138"/>
                  <a:gd name="connsiteX72" fmla="*/ 970970 w 1295201"/>
                  <a:gd name="connsiteY72" fmla="*/ 365277 h 973138"/>
                  <a:gd name="connsiteX73" fmla="*/ 1020948 w 1295201"/>
                  <a:gd name="connsiteY73" fmla="*/ 413696 h 973138"/>
                  <a:gd name="connsiteX74" fmla="*/ 1020948 w 1295201"/>
                  <a:gd name="connsiteY74" fmla="*/ 37026 h 973138"/>
                  <a:gd name="connsiteX75" fmla="*/ 737502 w 1295201"/>
                  <a:gd name="connsiteY75" fmla="*/ 37026 h 973138"/>
                  <a:gd name="connsiteX76" fmla="*/ 718939 w 1295201"/>
                  <a:gd name="connsiteY76" fmla="*/ 18513 h 973138"/>
                  <a:gd name="connsiteX77" fmla="*/ 737502 w 1295201"/>
                  <a:gd name="connsiteY77" fmla="*/ 0 h 973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95201" h="973138">
                    <a:moveTo>
                      <a:pt x="848020" y="647700"/>
                    </a:moveTo>
                    <a:cubicBezTo>
                      <a:pt x="874350" y="647700"/>
                      <a:pt x="874350" y="647700"/>
                      <a:pt x="874350" y="647700"/>
                    </a:cubicBezTo>
                    <a:cubicBezTo>
                      <a:pt x="874350" y="666232"/>
                      <a:pt x="874350" y="666232"/>
                      <a:pt x="874350" y="666232"/>
                    </a:cubicBezTo>
                    <a:cubicBezTo>
                      <a:pt x="889295" y="667657"/>
                      <a:pt x="899969" y="671221"/>
                      <a:pt x="907086" y="676210"/>
                    </a:cubicBezTo>
                    <a:cubicBezTo>
                      <a:pt x="897834" y="701157"/>
                      <a:pt x="897834" y="701157"/>
                      <a:pt x="897834" y="701157"/>
                    </a:cubicBezTo>
                    <a:cubicBezTo>
                      <a:pt x="886448" y="694029"/>
                      <a:pt x="875062" y="689753"/>
                      <a:pt x="863676" y="689753"/>
                    </a:cubicBezTo>
                    <a:cubicBezTo>
                      <a:pt x="856559" y="689753"/>
                      <a:pt x="851578" y="691891"/>
                      <a:pt x="847308" y="695455"/>
                    </a:cubicBezTo>
                    <a:cubicBezTo>
                      <a:pt x="843750" y="699018"/>
                      <a:pt x="841615" y="704008"/>
                      <a:pt x="841615" y="708997"/>
                    </a:cubicBezTo>
                    <a:cubicBezTo>
                      <a:pt x="841615" y="718976"/>
                      <a:pt x="852289" y="728241"/>
                      <a:pt x="873639" y="738220"/>
                    </a:cubicBezTo>
                    <a:cubicBezTo>
                      <a:pt x="885737" y="743209"/>
                      <a:pt x="894276" y="748199"/>
                      <a:pt x="899258" y="753188"/>
                    </a:cubicBezTo>
                    <a:cubicBezTo>
                      <a:pt x="904239" y="757464"/>
                      <a:pt x="907086" y="763166"/>
                      <a:pt x="909932" y="768868"/>
                    </a:cubicBezTo>
                    <a:cubicBezTo>
                      <a:pt x="912779" y="775283"/>
                      <a:pt x="914202" y="780985"/>
                      <a:pt x="914202" y="788113"/>
                    </a:cubicBezTo>
                    <a:cubicBezTo>
                      <a:pt x="914202" y="798804"/>
                      <a:pt x="910644" y="808070"/>
                      <a:pt x="904239" y="815910"/>
                    </a:cubicBezTo>
                    <a:cubicBezTo>
                      <a:pt x="897123" y="823038"/>
                      <a:pt x="887160" y="828740"/>
                      <a:pt x="874350" y="831591"/>
                    </a:cubicBezTo>
                    <a:cubicBezTo>
                      <a:pt x="874350" y="857250"/>
                      <a:pt x="874350" y="857250"/>
                      <a:pt x="874350" y="857250"/>
                    </a:cubicBezTo>
                    <a:cubicBezTo>
                      <a:pt x="848020" y="857250"/>
                      <a:pt x="848020" y="857250"/>
                      <a:pt x="848020" y="857250"/>
                    </a:cubicBezTo>
                    <a:cubicBezTo>
                      <a:pt x="848020" y="833729"/>
                      <a:pt x="848020" y="833729"/>
                      <a:pt x="848020" y="833729"/>
                    </a:cubicBezTo>
                    <a:cubicBezTo>
                      <a:pt x="835210" y="832304"/>
                      <a:pt x="822401" y="828740"/>
                      <a:pt x="811014" y="822325"/>
                    </a:cubicBezTo>
                    <a:cubicBezTo>
                      <a:pt x="822401" y="795953"/>
                      <a:pt x="822401" y="795953"/>
                      <a:pt x="822401" y="795953"/>
                    </a:cubicBezTo>
                    <a:cubicBezTo>
                      <a:pt x="834498" y="804506"/>
                      <a:pt x="845885" y="808070"/>
                      <a:pt x="857983" y="808070"/>
                    </a:cubicBezTo>
                    <a:cubicBezTo>
                      <a:pt x="875062" y="808070"/>
                      <a:pt x="884313" y="802368"/>
                      <a:pt x="884313" y="790251"/>
                    </a:cubicBezTo>
                    <a:cubicBezTo>
                      <a:pt x="884313" y="784549"/>
                      <a:pt x="882178" y="778847"/>
                      <a:pt x="877197" y="774571"/>
                    </a:cubicBezTo>
                    <a:cubicBezTo>
                      <a:pt x="872927" y="769581"/>
                      <a:pt x="864387" y="763879"/>
                      <a:pt x="851578" y="757464"/>
                    </a:cubicBezTo>
                    <a:cubicBezTo>
                      <a:pt x="838768" y="751050"/>
                      <a:pt x="830229" y="746060"/>
                      <a:pt x="825959" y="742497"/>
                    </a:cubicBezTo>
                    <a:cubicBezTo>
                      <a:pt x="820977" y="738220"/>
                      <a:pt x="817419" y="733231"/>
                      <a:pt x="815284" y="728241"/>
                    </a:cubicBezTo>
                    <a:cubicBezTo>
                      <a:pt x="812438" y="722539"/>
                      <a:pt x="811726" y="716125"/>
                      <a:pt x="811726" y="709710"/>
                    </a:cubicBezTo>
                    <a:cubicBezTo>
                      <a:pt x="811726" y="699018"/>
                      <a:pt x="814572" y="690465"/>
                      <a:pt x="821689" y="683338"/>
                    </a:cubicBezTo>
                    <a:cubicBezTo>
                      <a:pt x="828094" y="675498"/>
                      <a:pt x="836633" y="669796"/>
                      <a:pt x="848020" y="667657"/>
                    </a:cubicBezTo>
                    <a:cubicBezTo>
                      <a:pt x="848020" y="647700"/>
                      <a:pt x="848020" y="647700"/>
                      <a:pt x="848020" y="647700"/>
                    </a:cubicBezTo>
                    <a:close/>
                    <a:moveTo>
                      <a:pt x="463351" y="565150"/>
                    </a:moveTo>
                    <a:cubicBezTo>
                      <a:pt x="463351" y="565150"/>
                      <a:pt x="463351" y="565150"/>
                      <a:pt x="463351" y="941388"/>
                    </a:cubicBezTo>
                    <a:cubicBezTo>
                      <a:pt x="463351" y="941388"/>
                      <a:pt x="463351" y="941388"/>
                      <a:pt x="1263451" y="941388"/>
                    </a:cubicBezTo>
                    <a:cubicBezTo>
                      <a:pt x="1263451" y="941388"/>
                      <a:pt x="1263451" y="941388"/>
                      <a:pt x="1263451" y="565150"/>
                    </a:cubicBezTo>
                    <a:cubicBezTo>
                      <a:pt x="1263451" y="565150"/>
                      <a:pt x="1263451" y="565150"/>
                      <a:pt x="463351" y="565150"/>
                    </a:cubicBezTo>
                    <a:close/>
                    <a:moveTo>
                      <a:pt x="447303" y="533400"/>
                    </a:moveTo>
                    <a:cubicBezTo>
                      <a:pt x="1279499" y="533400"/>
                      <a:pt x="1279499" y="533400"/>
                      <a:pt x="1279499" y="533400"/>
                    </a:cubicBezTo>
                    <a:cubicBezTo>
                      <a:pt x="1288064" y="533400"/>
                      <a:pt x="1295201" y="539846"/>
                      <a:pt x="1295201" y="548440"/>
                    </a:cubicBezTo>
                    <a:cubicBezTo>
                      <a:pt x="1295201" y="957382"/>
                      <a:pt x="1295201" y="957382"/>
                      <a:pt x="1295201" y="957382"/>
                    </a:cubicBezTo>
                    <a:cubicBezTo>
                      <a:pt x="1295201" y="965976"/>
                      <a:pt x="1288064" y="973138"/>
                      <a:pt x="1279499" y="973138"/>
                    </a:cubicBezTo>
                    <a:cubicBezTo>
                      <a:pt x="447303" y="973138"/>
                      <a:pt x="447303" y="973138"/>
                      <a:pt x="447303" y="973138"/>
                    </a:cubicBezTo>
                    <a:cubicBezTo>
                      <a:pt x="438738" y="973138"/>
                      <a:pt x="431601" y="965976"/>
                      <a:pt x="431601" y="957382"/>
                    </a:cubicBezTo>
                    <a:cubicBezTo>
                      <a:pt x="431601" y="548440"/>
                      <a:pt x="431601" y="548440"/>
                      <a:pt x="431601" y="548440"/>
                    </a:cubicBezTo>
                    <a:cubicBezTo>
                      <a:pt x="431601" y="539846"/>
                      <a:pt x="438738" y="533400"/>
                      <a:pt x="447303" y="533400"/>
                    </a:cubicBezTo>
                    <a:close/>
                    <a:moveTo>
                      <a:pt x="98208" y="284163"/>
                    </a:moveTo>
                    <a:cubicBezTo>
                      <a:pt x="98208" y="284163"/>
                      <a:pt x="98208" y="284163"/>
                      <a:pt x="111778" y="297725"/>
                    </a:cubicBezTo>
                    <a:cubicBezTo>
                      <a:pt x="139633" y="325563"/>
                      <a:pt x="184631" y="371246"/>
                      <a:pt x="190345" y="376243"/>
                    </a:cubicBezTo>
                    <a:cubicBezTo>
                      <a:pt x="197487" y="382667"/>
                      <a:pt x="198916" y="393374"/>
                      <a:pt x="193202" y="401939"/>
                    </a:cubicBezTo>
                    <a:cubicBezTo>
                      <a:pt x="189630" y="406222"/>
                      <a:pt x="183916" y="409077"/>
                      <a:pt x="178203" y="409077"/>
                    </a:cubicBezTo>
                    <a:cubicBezTo>
                      <a:pt x="173917" y="409077"/>
                      <a:pt x="170346" y="407650"/>
                      <a:pt x="166775" y="405508"/>
                    </a:cubicBezTo>
                    <a:cubicBezTo>
                      <a:pt x="165346" y="404795"/>
                      <a:pt x="163203" y="402653"/>
                      <a:pt x="117492" y="356256"/>
                    </a:cubicBezTo>
                    <a:cubicBezTo>
                      <a:pt x="117492" y="356256"/>
                      <a:pt x="117492" y="356256"/>
                      <a:pt x="117492" y="735282"/>
                    </a:cubicBezTo>
                    <a:cubicBezTo>
                      <a:pt x="117492" y="735282"/>
                      <a:pt x="117492" y="735282"/>
                      <a:pt x="400331" y="735282"/>
                    </a:cubicBezTo>
                    <a:cubicBezTo>
                      <a:pt x="411045" y="735282"/>
                      <a:pt x="418902" y="743848"/>
                      <a:pt x="418902" y="754554"/>
                    </a:cubicBezTo>
                    <a:cubicBezTo>
                      <a:pt x="418902" y="764548"/>
                      <a:pt x="411045" y="773113"/>
                      <a:pt x="400331" y="773113"/>
                    </a:cubicBezTo>
                    <a:cubicBezTo>
                      <a:pt x="400331" y="773113"/>
                      <a:pt x="400331" y="773113"/>
                      <a:pt x="79637" y="773113"/>
                    </a:cubicBezTo>
                    <a:cubicBezTo>
                      <a:pt x="79637" y="773113"/>
                      <a:pt x="79637" y="773113"/>
                      <a:pt x="79637" y="356256"/>
                    </a:cubicBezTo>
                    <a:cubicBezTo>
                      <a:pt x="79637" y="356256"/>
                      <a:pt x="79637" y="356256"/>
                      <a:pt x="31783" y="403367"/>
                    </a:cubicBezTo>
                    <a:cubicBezTo>
                      <a:pt x="24641" y="411219"/>
                      <a:pt x="12499" y="411219"/>
                      <a:pt x="5356" y="403367"/>
                    </a:cubicBezTo>
                    <a:cubicBezTo>
                      <a:pt x="-1786" y="396229"/>
                      <a:pt x="-1786" y="384095"/>
                      <a:pt x="5356" y="376957"/>
                    </a:cubicBezTo>
                    <a:cubicBezTo>
                      <a:pt x="5356" y="376957"/>
                      <a:pt x="5356" y="376957"/>
                      <a:pt x="98208" y="284163"/>
                    </a:cubicBezTo>
                    <a:close/>
                    <a:moveTo>
                      <a:pt x="737502" y="0"/>
                    </a:moveTo>
                    <a:cubicBezTo>
                      <a:pt x="737502" y="0"/>
                      <a:pt x="737502" y="0"/>
                      <a:pt x="1058075" y="0"/>
                    </a:cubicBezTo>
                    <a:cubicBezTo>
                      <a:pt x="1058075" y="0"/>
                      <a:pt x="1058075" y="0"/>
                      <a:pt x="1058075" y="412272"/>
                    </a:cubicBezTo>
                    <a:cubicBezTo>
                      <a:pt x="1058075" y="412272"/>
                      <a:pt x="1058075" y="412272"/>
                      <a:pt x="1104483" y="366701"/>
                    </a:cubicBezTo>
                    <a:cubicBezTo>
                      <a:pt x="1111622" y="359581"/>
                      <a:pt x="1123760" y="359581"/>
                      <a:pt x="1130900" y="367413"/>
                    </a:cubicBezTo>
                    <a:cubicBezTo>
                      <a:pt x="1138039" y="374534"/>
                      <a:pt x="1138039" y="386638"/>
                      <a:pt x="1130900" y="393759"/>
                    </a:cubicBezTo>
                    <a:cubicBezTo>
                      <a:pt x="1130900" y="393759"/>
                      <a:pt x="1130900" y="393759"/>
                      <a:pt x="1055219" y="467811"/>
                    </a:cubicBezTo>
                    <a:cubicBezTo>
                      <a:pt x="1053791" y="470659"/>
                      <a:pt x="1051649" y="472083"/>
                      <a:pt x="1049507" y="473508"/>
                    </a:cubicBezTo>
                    <a:cubicBezTo>
                      <a:pt x="1049507" y="473508"/>
                      <a:pt x="1049507" y="473508"/>
                      <a:pt x="1038797" y="484188"/>
                    </a:cubicBezTo>
                    <a:cubicBezTo>
                      <a:pt x="1038797" y="484188"/>
                      <a:pt x="1038797" y="484188"/>
                      <a:pt x="1025232" y="470659"/>
                    </a:cubicBezTo>
                    <a:cubicBezTo>
                      <a:pt x="998101" y="444314"/>
                      <a:pt x="953121" y="399455"/>
                      <a:pt x="948123" y="394471"/>
                    </a:cubicBezTo>
                    <a:cubicBezTo>
                      <a:pt x="940270" y="388063"/>
                      <a:pt x="938842" y="377382"/>
                      <a:pt x="944554" y="368837"/>
                    </a:cubicBezTo>
                    <a:cubicBezTo>
                      <a:pt x="950979" y="361005"/>
                      <a:pt x="962403" y="358869"/>
                      <a:pt x="970970" y="365277"/>
                    </a:cubicBezTo>
                    <a:cubicBezTo>
                      <a:pt x="972398" y="365989"/>
                      <a:pt x="974540" y="367413"/>
                      <a:pt x="1020948" y="413696"/>
                    </a:cubicBezTo>
                    <a:cubicBezTo>
                      <a:pt x="1020948" y="413696"/>
                      <a:pt x="1020948" y="413696"/>
                      <a:pt x="1020948" y="37026"/>
                    </a:cubicBezTo>
                    <a:cubicBezTo>
                      <a:pt x="1020948" y="37026"/>
                      <a:pt x="1020948" y="37026"/>
                      <a:pt x="737502" y="37026"/>
                    </a:cubicBezTo>
                    <a:cubicBezTo>
                      <a:pt x="727507" y="37026"/>
                      <a:pt x="718939" y="29194"/>
                      <a:pt x="718939" y="18513"/>
                    </a:cubicBezTo>
                    <a:cubicBezTo>
                      <a:pt x="718939" y="8545"/>
                      <a:pt x="727507" y="0"/>
                      <a:pt x="737502" y="0"/>
                    </a:cubicBezTo>
                    <a:close/>
                  </a:path>
                </a:pathLst>
              </a:custGeom>
              <a:solidFill>
                <a:srgbClr val="294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37">
                <a:extLst>
                  <a:ext uri="{FF2B5EF4-FFF2-40B4-BE49-F238E27FC236}">
                    <a16:creationId xmlns:a16="http://schemas.microsoft.com/office/drawing/2014/main" id="{BE85C110-A252-EE94-76C4-120BF78CF838}"/>
                  </a:ext>
                </a:extLst>
              </p:cNvPr>
              <p:cNvSpPr/>
              <p:nvPr/>
            </p:nvSpPr>
            <p:spPr bwMode="auto">
              <a:xfrm>
                <a:off x="5476367" y="2803525"/>
                <a:ext cx="1199071" cy="1208088"/>
              </a:xfrm>
              <a:custGeom>
                <a:avLst/>
                <a:gdLst>
                  <a:gd name="connsiteX0" fmla="*/ 878957 w 1199071"/>
                  <a:gd name="connsiteY0" fmla="*/ 901700 h 1208088"/>
                  <a:gd name="connsiteX1" fmla="*/ 1146793 w 1199071"/>
                  <a:gd name="connsiteY1" fmla="*/ 901700 h 1208088"/>
                  <a:gd name="connsiteX2" fmla="*/ 1148941 w 1199071"/>
                  <a:gd name="connsiteY2" fmla="*/ 903122 h 1208088"/>
                  <a:gd name="connsiteX3" fmla="*/ 1146793 w 1199071"/>
                  <a:gd name="connsiteY3" fmla="*/ 914496 h 1208088"/>
                  <a:gd name="connsiteX4" fmla="*/ 1184032 w 1199071"/>
                  <a:gd name="connsiteY4" fmla="*/ 950751 h 1208088"/>
                  <a:gd name="connsiteX5" fmla="*/ 1196923 w 1199071"/>
                  <a:gd name="connsiteY5" fmla="*/ 947907 h 1208088"/>
                  <a:gd name="connsiteX6" fmla="*/ 1199071 w 1199071"/>
                  <a:gd name="connsiteY6" fmla="*/ 950040 h 1208088"/>
                  <a:gd name="connsiteX7" fmla="*/ 1199071 w 1199071"/>
                  <a:gd name="connsiteY7" fmla="*/ 1160459 h 1208088"/>
                  <a:gd name="connsiteX8" fmla="*/ 1196923 w 1199071"/>
                  <a:gd name="connsiteY8" fmla="*/ 1161881 h 1208088"/>
                  <a:gd name="connsiteX9" fmla="*/ 1184032 w 1199071"/>
                  <a:gd name="connsiteY9" fmla="*/ 1159748 h 1208088"/>
                  <a:gd name="connsiteX10" fmla="*/ 1146793 w 1199071"/>
                  <a:gd name="connsiteY10" fmla="*/ 1195292 h 1208088"/>
                  <a:gd name="connsiteX11" fmla="*/ 1148225 w 1199071"/>
                  <a:gd name="connsiteY11" fmla="*/ 1205956 h 1208088"/>
                  <a:gd name="connsiteX12" fmla="*/ 1146793 w 1199071"/>
                  <a:gd name="connsiteY12" fmla="*/ 1208088 h 1208088"/>
                  <a:gd name="connsiteX13" fmla="*/ 878957 w 1199071"/>
                  <a:gd name="connsiteY13" fmla="*/ 1208088 h 1208088"/>
                  <a:gd name="connsiteX14" fmla="*/ 878241 w 1199071"/>
                  <a:gd name="connsiteY14" fmla="*/ 1205245 h 1208088"/>
                  <a:gd name="connsiteX15" fmla="*/ 952003 w 1199071"/>
                  <a:gd name="connsiteY15" fmla="*/ 1055250 h 1208088"/>
                  <a:gd name="connsiteX16" fmla="*/ 878241 w 1199071"/>
                  <a:gd name="connsiteY16" fmla="*/ 903833 h 1208088"/>
                  <a:gd name="connsiteX17" fmla="*/ 878957 w 1199071"/>
                  <a:gd name="connsiteY17" fmla="*/ 901700 h 1208088"/>
                  <a:gd name="connsiteX18" fmla="*/ 518927 w 1199071"/>
                  <a:gd name="connsiteY18" fmla="*/ 901700 h 1208088"/>
                  <a:gd name="connsiteX19" fmla="*/ 786633 w 1199071"/>
                  <a:gd name="connsiteY19" fmla="*/ 901700 h 1208088"/>
                  <a:gd name="connsiteX20" fmla="*/ 788065 w 1199071"/>
                  <a:gd name="connsiteY20" fmla="*/ 903833 h 1208088"/>
                  <a:gd name="connsiteX21" fmla="*/ 713622 w 1199071"/>
                  <a:gd name="connsiteY21" fmla="*/ 1055250 h 1208088"/>
                  <a:gd name="connsiteX22" fmla="*/ 788065 w 1199071"/>
                  <a:gd name="connsiteY22" fmla="*/ 1205245 h 1208088"/>
                  <a:gd name="connsiteX23" fmla="*/ 786633 w 1199071"/>
                  <a:gd name="connsiteY23" fmla="*/ 1208088 h 1208088"/>
                  <a:gd name="connsiteX24" fmla="*/ 519643 w 1199071"/>
                  <a:gd name="connsiteY24" fmla="*/ 1208088 h 1208088"/>
                  <a:gd name="connsiteX25" fmla="*/ 518211 w 1199071"/>
                  <a:gd name="connsiteY25" fmla="*/ 1205956 h 1208088"/>
                  <a:gd name="connsiteX26" fmla="*/ 519643 w 1199071"/>
                  <a:gd name="connsiteY26" fmla="*/ 1195292 h 1208088"/>
                  <a:gd name="connsiteX27" fmla="*/ 483137 w 1199071"/>
                  <a:gd name="connsiteY27" fmla="*/ 1159748 h 1208088"/>
                  <a:gd name="connsiteX28" fmla="*/ 470969 w 1199071"/>
                  <a:gd name="connsiteY28" fmla="*/ 1161170 h 1208088"/>
                  <a:gd name="connsiteX29" fmla="*/ 468821 w 1199071"/>
                  <a:gd name="connsiteY29" fmla="*/ 1159748 h 1208088"/>
                  <a:gd name="connsiteX30" fmla="*/ 468821 w 1199071"/>
                  <a:gd name="connsiteY30" fmla="*/ 950040 h 1208088"/>
                  <a:gd name="connsiteX31" fmla="*/ 470969 w 1199071"/>
                  <a:gd name="connsiteY31" fmla="*/ 948618 h 1208088"/>
                  <a:gd name="connsiteX32" fmla="*/ 483137 w 1199071"/>
                  <a:gd name="connsiteY32" fmla="*/ 950751 h 1208088"/>
                  <a:gd name="connsiteX33" fmla="*/ 519643 w 1199071"/>
                  <a:gd name="connsiteY33" fmla="*/ 914496 h 1208088"/>
                  <a:gd name="connsiteX34" fmla="*/ 518211 w 1199071"/>
                  <a:gd name="connsiteY34" fmla="*/ 903122 h 1208088"/>
                  <a:gd name="connsiteX35" fmla="*/ 518927 w 1199071"/>
                  <a:gd name="connsiteY35" fmla="*/ 901700 h 1208088"/>
                  <a:gd name="connsiteX36" fmla="*/ 326025 w 1199071"/>
                  <a:gd name="connsiteY36" fmla="*/ 182184 h 1208088"/>
                  <a:gd name="connsiteX37" fmla="*/ 273872 w 1199071"/>
                  <a:gd name="connsiteY37" fmla="*/ 193386 h 1208088"/>
                  <a:gd name="connsiteX38" fmla="*/ 204469 w 1199071"/>
                  <a:gd name="connsiteY38" fmla="*/ 370489 h 1208088"/>
                  <a:gd name="connsiteX39" fmla="*/ 381196 w 1199071"/>
                  <a:gd name="connsiteY39" fmla="*/ 440904 h 1208088"/>
                  <a:gd name="connsiteX40" fmla="*/ 449884 w 1199071"/>
                  <a:gd name="connsiteY40" fmla="*/ 263801 h 1208088"/>
                  <a:gd name="connsiteX41" fmla="*/ 326025 w 1199071"/>
                  <a:gd name="connsiteY41" fmla="*/ 182184 h 1208088"/>
                  <a:gd name="connsiteX42" fmla="*/ 423813 w 1199071"/>
                  <a:gd name="connsiteY42" fmla="*/ 0 h 1208088"/>
                  <a:gd name="connsiteX43" fmla="*/ 543626 w 1199071"/>
                  <a:gd name="connsiteY43" fmla="*/ 68477 h 1208088"/>
                  <a:gd name="connsiteX44" fmla="*/ 540060 w 1199071"/>
                  <a:gd name="connsiteY44" fmla="*/ 124115 h 1208088"/>
                  <a:gd name="connsiteX45" fmla="*/ 574293 w 1199071"/>
                  <a:gd name="connsiteY45" fmla="*/ 171193 h 1208088"/>
                  <a:gd name="connsiteX46" fmla="*/ 597828 w 1199071"/>
                  <a:gd name="connsiteY46" fmla="*/ 221837 h 1208088"/>
                  <a:gd name="connsiteX47" fmla="*/ 647750 w 1199071"/>
                  <a:gd name="connsiteY47" fmla="*/ 244663 h 1208088"/>
                  <a:gd name="connsiteX48" fmla="*/ 649176 w 1199071"/>
                  <a:gd name="connsiteY48" fmla="*/ 382331 h 1208088"/>
                  <a:gd name="connsiteX49" fmla="*/ 600680 w 1199071"/>
                  <a:gd name="connsiteY49" fmla="*/ 404443 h 1208088"/>
                  <a:gd name="connsiteX50" fmla="*/ 541487 w 1199071"/>
                  <a:gd name="connsiteY50" fmla="*/ 509298 h 1208088"/>
                  <a:gd name="connsiteX51" fmla="*/ 548618 w 1199071"/>
                  <a:gd name="connsiteY51" fmla="*/ 564223 h 1208088"/>
                  <a:gd name="connsiteX52" fmla="*/ 493704 w 1199071"/>
                  <a:gd name="connsiteY52" fmla="*/ 605594 h 1208088"/>
                  <a:gd name="connsiteX53" fmla="*/ 431658 w 1199071"/>
                  <a:gd name="connsiteY53" fmla="*/ 633413 h 1208088"/>
                  <a:gd name="connsiteX54" fmla="*/ 387441 w 1199071"/>
                  <a:gd name="connsiteY54" fmla="*/ 600601 h 1208088"/>
                  <a:gd name="connsiteX55" fmla="*/ 269054 w 1199071"/>
                  <a:gd name="connsiteY55" fmla="*/ 599888 h 1208088"/>
                  <a:gd name="connsiteX56" fmla="*/ 225550 w 1199071"/>
                  <a:gd name="connsiteY56" fmla="*/ 633413 h 1208088"/>
                  <a:gd name="connsiteX57" fmla="*/ 107163 w 1199071"/>
                  <a:gd name="connsiteY57" fmla="*/ 562083 h 1208088"/>
                  <a:gd name="connsiteX58" fmla="*/ 114295 w 1199071"/>
                  <a:gd name="connsiteY58" fmla="*/ 507159 h 1208088"/>
                  <a:gd name="connsiteX59" fmla="*/ 82202 w 1199071"/>
                  <a:gd name="connsiteY59" fmla="*/ 461507 h 1208088"/>
                  <a:gd name="connsiteX60" fmla="*/ 57241 w 1199071"/>
                  <a:gd name="connsiteY60" fmla="*/ 407296 h 1208088"/>
                  <a:gd name="connsiteX61" fmla="*/ 7319 w 1199071"/>
                  <a:gd name="connsiteY61" fmla="*/ 386610 h 1208088"/>
                  <a:gd name="connsiteX62" fmla="*/ 8745 w 1199071"/>
                  <a:gd name="connsiteY62" fmla="*/ 243950 h 1208088"/>
                  <a:gd name="connsiteX63" fmla="*/ 58667 w 1199071"/>
                  <a:gd name="connsiteY63" fmla="*/ 221124 h 1208088"/>
                  <a:gd name="connsiteX64" fmla="*/ 113582 w 1199071"/>
                  <a:gd name="connsiteY64" fmla="*/ 127681 h 1208088"/>
                  <a:gd name="connsiteX65" fmla="*/ 106450 w 1199071"/>
                  <a:gd name="connsiteY65" fmla="*/ 72044 h 1208088"/>
                  <a:gd name="connsiteX66" fmla="*/ 163504 w 1199071"/>
                  <a:gd name="connsiteY66" fmla="*/ 29959 h 1208088"/>
                  <a:gd name="connsiteX67" fmla="*/ 227690 w 1199071"/>
                  <a:gd name="connsiteY67" fmla="*/ 713 h 1208088"/>
                  <a:gd name="connsiteX68" fmla="*/ 272620 w 1199071"/>
                  <a:gd name="connsiteY68" fmla="*/ 33525 h 1208088"/>
                  <a:gd name="connsiteX69" fmla="*/ 379596 w 1199071"/>
                  <a:gd name="connsiteY69" fmla="*/ 33525 h 1208088"/>
                  <a:gd name="connsiteX70" fmla="*/ 423813 w 1199071"/>
                  <a:gd name="connsiteY70" fmla="*/ 0 h 120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199071" h="1208088">
                    <a:moveTo>
                      <a:pt x="878957" y="901700"/>
                    </a:moveTo>
                    <a:cubicBezTo>
                      <a:pt x="878957" y="901700"/>
                      <a:pt x="878957" y="901700"/>
                      <a:pt x="1146793" y="901700"/>
                    </a:cubicBezTo>
                    <a:cubicBezTo>
                      <a:pt x="1148225" y="901700"/>
                      <a:pt x="1148941" y="902411"/>
                      <a:pt x="1148941" y="903122"/>
                    </a:cubicBezTo>
                    <a:cubicBezTo>
                      <a:pt x="1147509" y="906676"/>
                      <a:pt x="1146793" y="910942"/>
                      <a:pt x="1146793" y="914496"/>
                    </a:cubicBezTo>
                    <a:cubicBezTo>
                      <a:pt x="1146793" y="934400"/>
                      <a:pt x="1163264" y="950751"/>
                      <a:pt x="1184032" y="950751"/>
                    </a:cubicBezTo>
                    <a:cubicBezTo>
                      <a:pt x="1188329" y="950751"/>
                      <a:pt x="1193342" y="950040"/>
                      <a:pt x="1196923" y="947907"/>
                    </a:cubicBezTo>
                    <a:cubicBezTo>
                      <a:pt x="1198355" y="947907"/>
                      <a:pt x="1199071" y="948618"/>
                      <a:pt x="1199071" y="950040"/>
                    </a:cubicBezTo>
                    <a:cubicBezTo>
                      <a:pt x="1199071" y="950040"/>
                      <a:pt x="1199071" y="950040"/>
                      <a:pt x="1199071" y="1160459"/>
                    </a:cubicBezTo>
                    <a:cubicBezTo>
                      <a:pt x="1199071" y="1161170"/>
                      <a:pt x="1198355" y="1161881"/>
                      <a:pt x="1196923" y="1161881"/>
                    </a:cubicBezTo>
                    <a:cubicBezTo>
                      <a:pt x="1193342" y="1160459"/>
                      <a:pt x="1188329" y="1159748"/>
                      <a:pt x="1184032" y="1159748"/>
                    </a:cubicBezTo>
                    <a:cubicBezTo>
                      <a:pt x="1163264" y="1159748"/>
                      <a:pt x="1146793" y="1176099"/>
                      <a:pt x="1146793" y="1195292"/>
                    </a:cubicBezTo>
                    <a:cubicBezTo>
                      <a:pt x="1146793" y="1198847"/>
                      <a:pt x="1146793" y="1202401"/>
                      <a:pt x="1148225" y="1205956"/>
                    </a:cubicBezTo>
                    <a:cubicBezTo>
                      <a:pt x="1148941" y="1206666"/>
                      <a:pt x="1148225" y="1208088"/>
                      <a:pt x="1146793" y="1208088"/>
                    </a:cubicBezTo>
                    <a:cubicBezTo>
                      <a:pt x="1146793" y="1208088"/>
                      <a:pt x="1146793" y="1208088"/>
                      <a:pt x="878957" y="1208088"/>
                    </a:cubicBezTo>
                    <a:cubicBezTo>
                      <a:pt x="877524" y="1208088"/>
                      <a:pt x="876808" y="1205956"/>
                      <a:pt x="878241" y="1205245"/>
                    </a:cubicBezTo>
                    <a:cubicBezTo>
                      <a:pt x="915480" y="1178942"/>
                      <a:pt x="952003" y="1121361"/>
                      <a:pt x="952003" y="1055250"/>
                    </a:cubicBezTo>
                    <a:cubicBezTo>
                      <a:pt x="952003" y="988427"/>
                      <a:pt x="915480" y="930135"/>
                      <a:pt x="878241" y="903833"/>
                    </a:cubicBezTo>
                    <a:cubicBezTo>
                      <a:pt x="876808" y="903122"/>
                      <a:pt x="877524" y="901700"/>
                      <a:pt x="878957" y="901700"/>
                    </a:cubicBezTo>
                    <a:close/>
                    <a:moveTo>
                      <a:pt x="518927" y="901700"/>
                    </a:moveTo>
                    <a:cubicBezTo>
                      <a:pt x="518927" y="901700"/>
                      <a:pt x="518927" y="901700"/>
                      <a:pt x="786633" y="901700"/>
                    </a:cubicBezTo>
                    <a:cubicBezTo>
                      <a:pt x="788780" y="901700"/>
                      <a:pt x="789496" y="903122"/>
                      <a:pt x="788065" y="903833"/>
                    </a:cubicBezTo>
                    <a:cubicBezTo>
                      <a:pt x="750128" y="930135"/>
                      <a:pt x="713622" y="988427"/>
                      <a:pt x="713622" y="1055250"/>
                    </a:cubicBezTo>
                    <a:cubicBezTo>
                      <a:pt x="713622" y="1121361"/>
                      <a:pt x="750128" y="1178942"/>
                      <a:pt x="788065" y="1205245"/>
                    </a:cubicBezTo>
                    <a:cubicBezTo>
                      <a:pt x="789496" y="1205956"/>
                      <a:pt x="788780" y="1208088"/>
                      <a:pt x="786633" y="1208088"/>
                    </a:cubicBezTo>
                    <a:cubicBezTo>
                      <a:pt x="786633" y="1208088"/>
                      <a:pt x="786633" y="1208088"/>
                      <a:pt x="519643" y="1208088"/>
                    </a:cubicBezTo>
                    <a:cubicBezTo>
                      <a:pt x="518927" y="1208088"/>
                      <a:pt x="518211" y="1206666"/>
                      <a:pt x="518211" y="1205956"/>
                    </a:cubicBezTo>
                    <a:cubicBezTo>
                      <a:pt x="518927" y="1202401"/>
                      <a:pt x="519643" y="1198847"/>
                      <a:pt x="519643" y="1195292"/>
                    </a:cubicBezTo>
                    <a:cubicBezTo>
                      <a:pt x="519643" y="1176099"/>
                      <a:pt x="503895" y="1159748"/>
                      <a:pt x="483137" y="1159748"/>
                    </a:cubicBezTo>
                    <a:cubicBezTo>
                      <a:pt x="478842" y="1159748"/>
                      <a:pt x="474548" y="1160459"/>
                      <a:pt x="470969" y="1161170"/>
                    </a:cubicBezTo>
                    <a:cubicBezTo>
                      <a:pt x="470253" y="1161881"/>
                      <a:pt x="468821" y="1161170"/>
                      <a:pt x="468821" y="1159748"/>
                    </a:cubicBezTo>
                    <a:cubicBezTo>
                      <a:pt x="468821" y="1159748"/>
                      <a:pt x="468821" y="1159748"/>
                      <a:pt x="468821" y="950040"/>
                    </a:cubicBezTo>
                    <a:cubicBezTo>
                      <a:pt x="468821" y="948618"/>
                      <a:pt x="470253" y="947907"/>
                      <a:pt x="470969" y="948618"/>
                    </a:cubicBezTo>
                    <a:cubicBezTo>
                      <a:pt x="474548" y="950040"/>
                      <a:pt x="478842" y="950751"/>
                      <a:pt x="483137" y="950751"/>
                    </a:cubicBezTo>
                    <a:cubicBezTo>
                      <a:pt x="503895" y="950751"/>
                      <a:pt x="519643" y="934400"/>
                      <a:pt x="519643" y="914496"/>
                    </a:cubicBezTo>
                    <a:cubicBezTo>
                      <a:pt x="519643" y="910942"/>
                      <a:pt x="518927" y="906676"/>
                      <a:pt x="518211" y="903122"/>
                    </a:cubicBezTo>
                    <a:cubicBezTo>
                      <a:pt x="517495" y="902411"/>
                      <a:pt x="518211" y="901700"/>
                      <a:pt x="518927" y="901700"/>
                    </a:cubicBezTo>
                    <a:close/>
                    <a:moveTo>
                      <a:pt x="326025" y="182184"/>
                    </a:moveTo>
                    <a:cubicBezTo>
                      <a:pt x="308574" y="182317"/>
                      <a:pt x="290865" y="185918"/>
                      <a:pt x="273872" y="193386"/>
                    </a:cubicBezTo>
                    <a:cubicBezTo>
                      <a:pt x="205900" y="222548"/>
                      <a:pt x="175134" y="301497"/>
                      <a:pt x="204469" y="370489"/>
                    </a:cubicBezTo>
                    <a:cubicBezTo>
                      <a:pt x="233805" y="438770"/>
                      <a:pt x="313224" y="471488"/>
                      <a:pt x="381196" y="440904"/>
                    </a:cubicBezTo>
                    <a:cubicBezTo>
                      <a:pt x="449168" y="412454"/>
                      <a:pt x="479934" y="332081"/>
                      <a:pt x="449884" y="263801"/>
                    </a:cubicBezTo>
                    <a:cubicBezTo>
                      <a:pt x="428419" y="212590"/>
                      <a:pt x="378379" y="181784"/>
                      <a:pt x="326025" y="182184"/>
                    </a:cubicBezTo>
                    <a:close/>
                    <a:moveTo>
                      <a:pt x="423813" y="0"/>
                    </a:moveTo>
                    <a:cubicBezTo>
                      <a:pt x="467317" y="13553"/>
                      <a:pt x="510107" y="37805"/>
                      <a:pt x="543626" y="68477"/>
                    </a:cubicBezTo>
                    <a:cubicBezTo>
                      <a:pt x="543626" y="68477"/>
                      <a:pt x="543626" y="68477"/>
                      <a:pt x="540060" y="124115"/>
                    </a:cubicBezTo>
                    <a:cubicBezTo>
                      <a:pt x="552898" y="138381"/>
                      <a:pt x="565021" y="154074"/>
                      <a:pt x="574293" y="171193"/>
                    </a:cubicBezTo>
                    <a:cubicBezTo>
                      <a:pt x="584277" y="188312"/>
                      <a:pt x="592122" y="205431"/>
                      <a:pt x="597828" y="221837"/>
                    </a:cubicBezTo>
                    <a:cubicBezTo>
                      <a:pt x="597828" y="221837"/>
                      <a:pt x="597828" y="221837"/>
                      <a:pt x="647750" y="244663"/>
                    </a:cubicBezTo>
                    <a:cubicBezTo>
                      <a:pt x="657021" y="290314"/>
                      <a:pt x="657734" y="338106"/>
                      <a:pt x="649176" y="382331"/>
                    </a:cubicBezTo>
                    <a:cubicBezTo>
                      <a:pt x="649176" y="382331"/>
                      <a:pt x="649176" y="382331"/>
                      <a:pt x="600680" y="404443"/>
                    </a:cubicBezTo>
                    <a:cubicBezTo>
                      <a:pt x="587843" y="442961"/>
                      <a:pt x="568587" y="479340"/>
                      <a:pt x="541487" y="509298"/>
                    </a:cubicBezTo>
                    <a:cubicBezTo>
                      <a:pt x="541487" y="509298"/>
                      <a:pt x="541487" y="509298"/>
                      <a:pt x="548618" y="564223"/>
                    </a:cubicBezTo>
                    <a:cubicBezTo>
                      <a:pt x="530789" y="579202"/>
                      <a:pt x="512247" y="592755"/>
                      <a:pt x="493704" y="605594"/>
                    </a:cubicBezTo>
                    <a:cubicBezTo>
                      <a:pt x="473022" y="616294"/>
                      <a:pt x="452340" y="625567"/>
                      <a:pt x="431658" y="633413"/>
                    </a:cubicBezTo>
                    <a:cubicBezTo>
                      <a:pt x="431658" y="633413"/>
                      <a:pt x="431658" y="633413"/>
                      <a:pt x="387441" y="600601"/>
                    </a:cubicBezTo>
                    <a:cubicBezTo>
                      <a:pt x="346790" y="609161"/>
                      <a:pt x="307565" y="609161"/>
                      <a:pt x="269054" y="599888"/>
                    </a:cubicBezTo>
                    <a:cubicBezTo>
                      <a:pt x="269054" y="599888"/>
                      <a:pt x="269054" y="599888"/>
                      <a:pt x="225550" y="633413"/>
                    </a:cubicBezTo>
                    <a:cubicBezTo>
                      <a:pt x="183473" y="617720"/>
                      <a:pt x="142822" y="594895"/>
                      <a:pt x="107163" y="562083"/>
                    </a:cubicBezTo>
                    <a:cubicBezTo>
                      <a:pt x="107163" y="562083"/>
                      <a:pt x="107163" y="562083"/>
                      <a:pt x="114295" y="507159"/>
                    </a:cubicBezTo>
                    <a:cubicBezTo>
                      <a:pt x="102171" y="493606"/>
                      <a:pt x="91473" y="478626"/>
                      <a:pt x="82202" y="461507"/>
                    </a:cubicBezTo>
                    <a:cubicBezTo>
                      <a:pt x="71504" y="445101"/>
                      <a:pt x="62946" y="425842"/>
                      <a:pt x="57241" y="407296"/>
                    </a:cubicBezTo>
                    <a:cubicBezTo>
                      <a:pt x="57241" y="407296"/>
                      <a:pt x="57241" y="407296"/>
                      <a:pt x="7319" y="386610"/>
                    </a:cubicBezTo>
                    <a:cubicBezTo>
                      <a:pt x="-2666" y="337392"/>
                      <a:pt x="-2666" y="289601"/>
                      <a:pt x="8745" y="243950"/>
                    </a:cubicBezTo>
                    <a:cubicBezTo>
                      <a:pt x="8745" y="243950"/>
                      <a:pt x="8745" y="243950"/>
                      <a:pt x="58667" y="221124"/>
                    </a:cubicBezTo>
                    <a:cubicBezTo>
                      <a:pt x="70078" y="187599"/>
                      <a:pt x="89334" y="156213"/>
                      <a:pt x="113582" y="127681"/>
                    </a:cubicBezTo>
                    <a:cubicBezTo>
                      <a:pt x="113582" y="127681"/>
                      <a:pt x="113582" y="127681"/>
                      <a:pt x="106450" y="72044"/>
                    </a:cubicBezTo>
                    <a:cubicBezTo>
                      <a:pt x="122853" y="57064"/>
                      <a:pt x="142822" y="42085"/>
                      <a:pt x="163504" y="29959"/>
                    </a:cubicBezTo>
                    <a:cubicBezTo>
                      <a:pt x="184899" y="17833"/>
                      <a:pt x="205581" y="8560"/>
                      <a:pt x="227690" y="713"/>
                    </a:cubicBezTo>
                    <a:cubicBezTo>
                      <a:pt x="227690" y="713"/>
                      <a:pt x="227690" y="713"/>
                      <a:pt x="272620" y="33525"/>
                    </a:cubicBezTo>
                    <a:cubicBezTo>
                      <a:pt x="307565" y="26392"/>
                      <a:pt x="343937" y="25679"/>
                      <a:pt x="379596" y="33525"/>
                    </a:cubicBezTo>
                    <a:cubicBezTo>
                      <a:pt x="379596" y="33525"/>
                      <a:pt x="379596" y="33525"/>
                      <a:pt x="423813" y="0"/>
                    </a:cubicBezTo>
                    <a:close/>
                  </a:path>
                </a:pathLst>
              </a:custGeom>
              <a:solidFill>
                <a:srgbClr val="539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3" name="bcgIcons_Fund ">
            <a:extLst>
              <a:ext uri="{FF2B5EF4-FFF2-40B4-BE49-F238E27FC236}">
                <a16:creationId xmlns:a16="http://schemas.microsoft.com/office/drawing/2014/main" id="{4ABDC4EB-3F73-A7A2-54DD-1B165504F4A0}"/>
              </a:ext>
            </a:extLst>
          </p:cNvPr>
          <p:cNvGrpSpPr>
            <a:grpSpLocks noChangeAspect="1"/>
          </p:cNvGrpSpPr>
          <p:nvPr/>
        </p:nvGrpSpPr>
        <p:grpSpPr>
          <a:xfrm>
            <a:off x="246236" y="1514198"/>
            <a:ext cx="467605" cy="468056"/>
            <a:chOff x="5273675" y="2605088"/>
            <a:chExt cx="1644650" cy="1646237"/>
          </a:xfrm>
        </p:grpSpPr>
        <p:sp>
          <p:nvSpPr>
            <p:cNvPr id="54" name="AutoShape 3">
              <a:extLst>
                <a:ext uri="{FF2B5EF4-FFF2-40B4-BE49-F238E27FC236}">
                  <a16:creationId xmlns:a16="http://schemas.microsoft.com/office/drawing/2014/main" id="{A9494EDB-EC99-6F12-31D2-95BFFC550D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5088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2782E69-FE3B-C988-1BE8-6D878F018595}"/>
                </a:ext>
              </a:extLst>
            </p:cNvPr>
            <p:cNvGrpSpPr/>
            <p:nvPr/>
          </p:nvGrpSpPr>
          <p:grpSpPr>
            <a:xfrm>
              <a:off x="5497179" y="2775744"/>
              <a:ext cx="1197643" cy="1304925"/>
              <a:chOff x="5497974" y="2774950"/>
              <a:chExt cx="1197643" cy="1304925"/>
            </a:xfrm>
          </p:grpSpPr>
          <p:sp>
            <p:nvSpPr>
              <p:cNvPr id="56" name="Freeform 31">
                <a:extLst>
                  <a:ext uri="{FF2B5EF4-FFF2-40B4-BE49-F238E27FC236}">
                    <a16:creationId xmlns:a16="http://schemas.microsoft.com/office/drawing/2014/main" id="{18FEA385-034C-445A-E127-BE3D9D50C8D2}"/>
                  </a:ext>
                </a:extLst>
              </p:cNvPr>
              <p:cNvSpPr/>
              <p:nvPr/>
            </p:nvSpPr>
            <p:spPr bwMode="auto">
              <a:xfrm>
                <a:off x="5780088" y="2838450"/>
                <a:ext cx="633413" cy="246062"/>
              </a:xfrm>
              <a:custGeom>
                <a:avLst/>
                <a:gdLst>
                  <a:gd name="connsiteX0" fmla="*/ 368300 w 633413"/>
                  <a:gd name="connsiteY0" fmla="*/ 0 h 246062"/>
                  <a:gd name="connsiteX1" fmla="*/ 595540 w 633413"/>
                  <a:gd name="connsiteY1" fmla="*/ 0 h 246062"/>
                  <a:gd name="connsiteX2" fmla="*/ 595540 w 633413"/>
                  <a:gd name="connsiteY2" fmla="*/ 718 h 246062"/>
                  <a:gd name="connsiteX3" fmla="*/ 594111 w 633413"/>
                  <a:gd name="connsiteY3" fmla="*/ 10043 h 246062"/>
                  <a:gd name="connsiteX4" fmla="*/ 622694 w 633413"/>
                  <a:gd name="connsiteY4" fmla="*/ 39456 h 246062"/>
                  <a:gd name="connsiteX5" fmla="*/ 631984 w 633413"/>
                  <a:gd name="connsiteY5" fmla="*/ 37304 h 246062"/>
                  <a:gd name="connsiteX6" fmla="*/ 633413 w 633413"/>
                  <a:gd name="connsiteY6" fmla="*/ 38021 h 246062"/>
                  <a:gd name="connsiteX7" fmla="*/ 633413 w 633413"/>
                  <a:gd name="connsiteY7" fmla="*/ 209476 h 246062"/>
                  <a:gd name="connsiteX8" fmla="*/ 631984 w 633413"/>
                  <a:gd name="connsiteY8" fmla="*/ 210910 h 246062"/>
                  <a:gd name="connsiteX9" fmla="*/ 622694 w 633413"/>
                  <a:gd name="connsiteY9" fmla="*/ 208758 h 246062"/>
                  <a:gd name="connsiteX10" fmla="*/ 594111 w 633413"/>
                  <a:gd name="connsiteY10" fmla="*/ 237454 h 246062"/>
                  <a:gd name="connsiteX11" fmla="*/ 594825 w 633413"/>
                  <a:gd name="connsiteY11" fmla="*/ 245345 h 246062"/>
                  <a:gd name="connsiteX12" fmla="*/ 594825 w 633413"/>
                  <a:gd name="connsiteY12" fmla="*/ 246062 h 246062"/>
                  <a:gd name="connsiteX13" fmla="*/ 368300 w 633413"/>
                  <a:gd name="connsiteY13" fmla="*/ 246062 h 246062"/>
                  <a:gd name="connsiteX14" fmla="*/ 369015 w 633413"/>
                  <a:gd name="connsiteY14" fmla="*/ 244627 h 246062"/>
                  <a:gd name="connsiteX15" fmla="*/ 426182 w 633413"/>
                  <a:gd name="connsiteY15" fmla="*/ 123390 h 246062"/>
                  <a:gd name="connsiteX16" fmla="*/ 369015 w 633413"/>
                  <a:gd name="connsiteY16" fmla="*/ 1435 h 246062"/>
                  <a:gd name="connsiteX17" fmla="*/ 368300 w 633413"/>
                  <a:gd name="connsiteY17" fmla="*/ 0 h 246062"/>
                  <a:gd name="connsiteX18" fmla="*/ 38611 w 633413"/>
                  <a:gd name="connsiteY18" fmla="*/ 0 h 246062"/>
                  <a:gd name="connsiteX19" fmla="*/ 265985 w 633413"/>
                  <a:gd name="connsiteY19" fmla="*/ 0 h 246062"/>
                  <a:gd name="connsiteX20" fmla="*/ 265270 w 633413"/>
                  <a:gd name="connsiteY20" fmla="*/ 1435 h 246062"/>
                  <a:gd name="connsiteX21" fmla="*/ 208069 w 633413"/>
                  <a:gd name="connsiteY21" fmla="*/ 123390 h 246062"/>
                  <a:gd name="connsiteX22" fmla="*/ 265270 w 633413"/>
                  <a:gd name="connsiteY22" fmla="*/ 244627 h 246062"/>
                  <a:gd name="connsiteX23" fmla="*/ 265985 w 633413"/>
                  <a:gd name="connsiteY23" fmla="*/ 246062 h 246062"/>
                  <a:gd name="connsiteX24" fmla="*/ 38611 w 633413"/>
                  <a:gd name="connsiteY24" fmla="*/ 246062 h 246062"/>
                  <a:gd name="connsiteX25" fmla="*/ 38611 w 633413"/>
                  <a:gd name="connsiteY25" fmla="*/ 245345 h 246062"/>
                  <a:gd name="connsiteX26" fmla="*/ 40041 w 633413"/>
                  <a:gd name="connsiteY26" fmla="*/ 237454 h 246062"/>
                  <a:gd name="connsiteX27" fmla="*/ 10725 w 633413"/>
                  <a:gd name="connsiteY27" fmla="*/ 208758 h 246062"/>
                  <a:gd name="connsiteX28" fmla="*/ 2145 w 633413"/>
                  <a:gd name="connsiteY28" fmla="*/ 210193 h 246062"/>
                  <a:gd name="connsiteX29" fmla="*/ 0 w 633413"/>
                  <a:gd name="connsiteY29" fmla="*/ 209476 h 246062"/>
                  <a:gd name="connsiteX30" fmla="*/ 0 w 633413"/>
                  <a:gd name="connsiteY30" fmla="*/ 38739 h 246062"/>
                  <a:gd name="connsiteX31" fmla="*/ 2145 w 633413"/>
                  <a:gd name="connsiteY31" fmla="*/ 37304 h 246062"/>
                  <a:gd name="connsiteX32" fmla="*/ 10725 w 633413"/>
                  <a:gd name="connsiteY32" fmla="*/ 39456 h 246062"/>
                  <a:gd name="connsiteX33" fmla="*/ 40041 w 633413"/>
                  <a:gd name="connsiteY33" fmla="*/ 10043 h 246062"/>
                  <a:gd name="connsiteX34" fmla="*/ 38611 w 633413"/>
                  <a:gd name="connsiteY34" fmla="*/ 718 h 246062"/>
                  <a:gd name="connsiteX35" fmla="*/ 38611 w 633413"/>
                  <a:gd name="connsiteY35" fmla="*/ 0 h 246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33413" h="246062">
                    <a:moveTo>
                      <a:pt x="368300" y="0"/>
                    </a:moveTo>
                    <a:cubicBezTo>
                      <a:pt x="368300" y="0"/>
                      <a:pt x="368300" y="0"/>
                      <a:pt x="595540" y="0"/>
                    </a:cubicBezTo>
                    <a:cubicBezTo>
                      <a:pt x="595540" y="0"/>
                      <a:pt x="595540" y="0"/>
                      <a:pt x="595540" y="718"/>
                    </a:cubicBezTo>
                    <a:cubicBezTo>
                      <a:pt x="594825" y="3587"/>
                      <a:pt x="594111" y="7174"/>
                      <a:pt x="594111" y="10043"/>
                    </a:cubicBezTo>
                    <a:cubicBezTo>
                      <a:pt x="594111" y="25826"/>
                      <a:pt x="606973" y="39456"/>
                      <a:pt x="622694" y="39456"/>
                    </a:cubicBezTo>
                    <a:cubicBezTo>
                      <a:pt x="625553" y="39456"/>
                      <a:pt x="629126" y="38021"/>
                      <a:pt x="631984" y="37304"/>
                    </a:cubicBezTo>
                    <a:cubicBezTo>
                      <a:pt x="632699" y="37304"/>
                      <a:pt x="633413" y="37304"/>
                      <a:pt x="633413" y="38021"/>
                    </a:cubicBezTo>
                    <a:cubicBezTo>
                      <a:pt x="633413" y="38021"/>
                      <a:pt x="633413" y="38021"/>
                      <a:pt x="633413" y="209476"/>
                    </a:cubicBezTo>
                    <a:cubicBezTo>
                      <a:pt x="633413" y="210193"/>
                      <a:pt x="632699" y="210910"/>
                      <a:pt x="631984" y="210910"/>
                    </a:cubicBezTo>
                    <a:cubicBezTo>
                      <a:pt x="629126" y="209476"/>
                      <a:pt x="625553" y="208758"/>
                      <a:pt x="622694" y="208758"/>
                    </a:cubicBezTo>
                    <a:cubicBezTo>
                      <a:pt x="606973" y="208758"/>
                      <a:pt x="594111" y="221671"/>
                      <a:pt x="594111" y="237454"/>
                    </a:cubicBezTo>
                    <a:cubicBezTo>
                      <a:pt x="594111" y="240323"/>
                      <a:pt x="594111" y="242475"/>
                      <a:pt x="594825" y="245345"/>
                    </a:cubicBezTo>
                    <a:cubicBezTo>
                      <a:pt x="594825" y="245345"/>
                      <a:pt x="594825" y="245345"/>
                      <a:pt x="594825" y="246062"/>
                    </a:cubicBezTo>
                    <a:cubicBezTo>
                      <a:pt x="594825" y="246062"/>
                      <a:pt x="594825" y="246062"/>
                      <a:pt x="368300" y="246062"/>
                    </a:cubicBezTo>
                    <a:cubicBezTo>
                      <a:pt x="368300" y="245345"/>
                      <a:pt x="368300" y="245345"/>
                      <a:pt x="369015" y="244627"/>
                    </a:cubicBezTo>
                    <a:cubicBezTo>
                      <a:pt x="398313" y="223823"/>
                      <a:pt x="426182" y="176476"/>
                      <a:pt x="426182" y="123390"/>
                    </a:cubicBezTo>
                    <a:cubicBezTo>
                      <a:pt x="426182" y="69586"/>
                      <a:pt x="398313" y="22956"/>
                      <a:pt x="369015" y="1435"/>
                    </a:cubicBezTo>
                    <a:cubicBezTo>
                      <a:pt x="368300" y="718"/>
                      <a:pt x="368300" y="718"/>
                      <a:pt x="368300" y="0"/>
                    </a:cubicBezTo>
                    <a:close/>
                    <a:moveTo>
                      <a:pt x="38611" y="0"/>
                    </a:moveTo>
                    <a:cubicBezTo>
                      <a:pt x="38611" y="0"/>
                      <a:pt x="38611" y="0"/>
                      <a:pt x="265985" y="0"/>
                    </a:cubicBezTo>
                    <a:cubicBezTo>
                      <a:pt x="266700" y="718"/>
                      <a:pt x="265985" y="718"/>
                      <a:pt x="265270" y="1435"/>
                    </a:cubicBezTo>
                    <a:cubicBezTo>
                      <a:pt x="236670" y="22956"/>
                      <a:pt x="208069" y="69586"/>
                      <a:pt x="208069" y="123390"/>
                    </a:cubicBezTo>
                    <a:cubicBezTo>
                      <a:pt x="208069" y="176476"/>
                      <a:pt x="236670" y="223823"/>
                      <a:pt x="265270" y="244627"/>
                    </a:cubicBezTo>
                    <a:cubicBezTo>
                      <a:pt x="265985" y="245345"/>
                      <a:pt x="266700" y="245345"/>
                      <a:pt x="265985" y="246062"/>
                    </a:cubicBezTo>
                    <a:cubicBezTo>
                      <a:pt x="265985" y="246062"/>
                      <a:pt x="265985" y="246062"/>
                      <a:pt x="38611" y="246062"/>
                    </a:cubicBezTo>
                    <a:cubicBezTo>
                      <a:pt x="38611" y="246062"/>
                      <a:pt x="38611" y="246062"/>
                      <a:pt x="38611" y="245345"/>
                    </a:cubicBezTo>
                    <a:cubicBezTo>
                      <a:pt x="39326" y="242475"/>
                      <a:pt x="40041" y="240323"/>
                      <a:pt x="40041" y="237454"/>
                    </a:cubicBezTo>
                    <a:cubicBezTo>
                      <a:pt x="40041" y="221671"/>
                      <a:pt x="26456" y="208758"/>
                      <a:pt x="10725" y="208758"/>
                    </a:cubicBezTo>
                    <a:cubicBezTo>
                      <a:pt x="7865" y="208758"/>
                      <a:pt x="4290" y="209476"/>
                      <a:pt x="2145" y="210193"/>
                    </a:cubicBezTo>
                    <a:cubicBezTo>
                      <a:pt x="715" y="210910"/>
                      <a:pt x="0" y="210193"/>
                      <a:pt x="0" y="209476"/>
                    </a:cubicBezTo>
                    <a:cubicBezTo>
                      <a:pt x="0" y="209476"/>
                      <a:pt x="0" y="209476"/>
                      <a:pt x="0" y="38739"/>
                    </a:cubicBezTo>
                    <a:cubicBezTo>
                      <a:pt x="0" y="37304"/>
                      <a:pt x="715" y="37304"/>
                      <a:pt x="2145" y="37304"/>
                    </a:cubicBezTo>
                    <a:cubicBezTo>
                      <a:pt x="4290" y="38021"/>
                      <a:pt x="7865" y="39456"/>
                      <a:pt x="10725" y="39456"/>
                    </a:cubicBezTo>
                    <a:cubicBezTo>
                      <a:pt x="26456" y="39456"/>
                      <a:pt x="40041" y="25826"/>
                      <a:pt x="40041" y="10043"/>
                    </a:cubicBezTo>
                    <a:cubicBezTo>
                      <a:pt x="40041" y="7174"/>
                      <a:pt x="39326" y="3587"/>
                      <a:pt x="38611" y="718"/>
                    </a:cubicBezTo>
                    <a:cubicBezTo>
                      <a:pt x="38611" y="718"/>
                      <a:pt x="38611" y="718"/>
                      <a:pt x="38611" y="0"/>
                    </a:cubicBezTo>
                    <a:close/>
                  </a:path>
                </a:pathLst>
              </a:custGeom>
              <a:solidFill>
                <a:srgbClr val="539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32">
                <a:extLst>
                  <a:ext uri="{FF2B5EF4-FFF2-40B4-BE49-F238E27FC236}">
                    <a16:creationId xmlns:a16="http://schemas.microsoft.com/office/drawing/2014/main" id="{FB9864AD-B4B8-65AD-670F-0BB46A73BFFA}"/>
                  </a:ext>
                </a:extLst>
              </p:cNvPr>
              <p:cNvSpPr/>
              <p:nvPr/>
            </p:nvSpPr>
            <p:spPr bwMode="auto">
              <a:xfrm>
                <a:off x="5497974" y="2774950"/>
                <a:ext cx="1197643" cy="1304925"/>
              </a:xfrm>
              <a:custGeom>
                <a:avLst/>
                <a:gdLst>
                  <a:gd name="connsiteX0" fmla="*/ 1077708 w 1197643"/>
                  <a:gd name="connsiteY0" fmla="*/ 315913 h 1304925"/>
                  <a:gd name="connsiteX1" fmla="*/ 1066261 w 1197643"/>
                  <a:gd name="connsiteY1" fmla="*/ 318056 h 1304925"/>
                  <a:gd name="connsiteX2" fmla="*/ 1044083 w 1197643"/>
                  <a:gd name="connsiteY2" fmla="*/ 337344 h 1304925"/>
                  <a:gd name="connsiteX3" fmla="*/ 1041936 w 1197643"/>
                  <a:gd name="connsiteY3" fmla="*/ 366634 h 1304925"/>
                  <a:gd name="connsiteX4" fmla="*/ 1065545 w 1197643"/>
                  <a:gd name="connsiteY4" fmla="*/ 434499 h 1304925"/>
                  <a:gd name="connsiteX5" fmla="*/ 1074130 w 1197643"/>
                  <a:gd name="connsiteY5" fmla="*/ 617379 h 1304925"/>
                  <a:gd name="connsiteX6" fmla="*/ 1071984 w 1197643"/>
                  <a:gd name="connsiteY6" fmla="*/ 623809 h 1304925"/>
                  <a:gd name="connsiteX7" fmla="*/ 966816 w 1197643"/>
                  <a:gd name="connsiteY7" fmla="*/ 788829 h 1304925"/>
                  <a:gd name="connsiteX8" fmla="*/ 946069 w 1197643"/>
                  <a:gd name="connsiteY8" fmla="*/ 805260 h 1304925"/>
                  <a:gd name="connsiteX9" fmla="*/ 920314 w 1197643"/>
                  <a:gd name="connsiteY9" fmla="*/ 814547 h 1304925"/>
                  <a:gd name="connsiteX10" fmla="*/ 885258 w 1197643"/>
                  <a:gd name="connsiteY10" fmla="*/ 795973 h 1304925"/>
                  <a:gd name="connsiteX11" fmla="*/ 882396 w 1197643"/>
                  <a:gd name="connsiteY11" fmla="*/ 756682 h 1304925"/>
                  <a:gd name="connsiteX12" fmla="*/ 931045 w 1197643"/>
                  <a:gd name="connsiteY12" fmla="*/ 646669 h 1304925"/>
                  <a:gd name="connsiteX13" fmla="*/ 917452 w 1197643"/>
                  <a:gd name="connsiteY13" fmla="*/ 605235 h 1304925"/>
                  <a:gd name="connsiteX14" fmla="*/ 901713 w 1197643"/>
                  <a:gd name="connsiteY14" fmla="*/ 600949 h 1304925"/>
                  <a:gd name="connsiteX15" fmla="*/ 873811 w 1197643"/>
                  <a:gd name="connsiteY15" fmla="*/ 616665 h 1304925"/>
                  <a:gd name="connsiteX16" fmla="*/ 710693 w 1197643"/>
                  <a:gd name="connsiteY16" fmla="*/ 875268 h 1304925"/>
                  <a:gd name="connsiteX17" fmla="*/ 688515 w 1197643"/>
                  <a:gd name="connsiteY17" fmla="*/ 950278 h 1304925"/>
                  <a:gd name="connsiteX18" fmla="*/ 689946 w 1197643"/>
                  <a:gd name="connsiteY18" fmla="*/ 1273175 h 1304925"/>
                  <a:gd name="connsiteX19" fmla="*/ 956800 w 1197643"/>
                  <a:gd name="connsiteY19" fmla="*/ 1273175 h 1304925"/>
                  <a:gd name="connsiteX20" fmla="*/ 956800 w 1197643"/>
                  <a:gd name="connsiteY20" fmla="*/ 1096010 h 1304925"/>
                  <a:gd name="connsiteX21" fmla="*/ 956800 w 1197643"/>
                  <a:gd name="connsiteY21" fmla="*/ 1091724 h 1304925"/>
                  <a:gd name="connsiteX22" fmla="*/ 993287 w 1197643"/>
                  <a:gd name="connsiteY22" fmla="*/ 995998 h 1304925"/>
                  <a:gd name="connsiteX23" fmla="*/ 1059822 w 1197643"/>
                  <a:gd name="connsiteY23" fmla="*/ 896700 h 1304925"/>
                  <a:gd name="connsiteX24" fmla="*/ 1153543 w 1197643"/>
                  <a:gd name="connsiteY24" fmla="*/ 672386 h 1304925"/>
                  <a:gd name="connsiteX25" fmla="*/ 1156405 w 1197643"/>
                  <a:gd name="connsiteY25" fmla="*/ 659527 h 1304925"/>
                  <a:gd name="connsiteX26" fmla="*/ 1138519 w 1197643"/>
                  <a:gd name="connsiteY26" fmla="*/ 408067 h 1304925"/>
                  <a:gd name="connsiteX27" fmla="*/ 1113479 w 1197643"/>
                  <a:gd name="connsiteY27" fmla="*/ 340916 h 1304925"/>
                  <a:gd name="connsiteX28" fmla="*/ 1077708 w 1197643"/>
                  <a:gd name="connsiteY28" fmla="*/ 315913 h 1304925"/>
                  <a:gd name="connsiteX29" fmla="*/ 118348 w 1197643"/>
                  <a:gd name="connsiteY29" fmla="*/ 315913 h 1304925"/>
                  <a:gd name="connsiteX30" fmla="*/ 82577 w 1197643"/>
                  <a:gd name="connsiteY30" fmla="*/ 340916 h 1304925"/>
                  <a:gd name="connsiteX31" fmla="*/ 57537 w 1197643"/>
                  <a:gd name="connsiteY31" fmla="*/ 408067 h 1304925"/>
                  <a:gd name="connsiteX32" fmla="*/ 39651 w 1197643"/>
                  <a:gd name="connsiteY32" fmla="*/ 659527 h 1304925"/>
                  <a:gd name="connsiteX33" fmla="*/ 42513 w 1197643"/>
                  <a:gd name="connsiteY33" fmla="*/ 672386 h 1304925"/>
                  <a:gd name="connsiteX34" fmla="*/ 136234 w 1197643"/>
                  <a:gd name="connsiteY34" fmla="*/ 896700 h 1304925"/>
                  <a:gd name="connsiteX35" fmla="*/ 202768 w 1197643"/>
                  <a:gd name="connsiteY35" fmla="*/ 995998 h 1304925"/>
                  <a:gd name="connsiteX36" fmla="*/ 239255 w 1197643"/>
                  <a:gd name="connsiteY36" fmla="*/ 1091724 h 1304925"/>
                  <a:gd name="connsiteX37" fmla="*/ 239255 w 1197643"/>
                  <a:gd name="connsiteY37" fmla="*/ 1096010 h 1304925"/>
                  <a:gd name="connsiteX38" fmla="*/ 239255 w 1197643"/>
                  <a:gd name="connsiteY38" fmla="*/ 1273175 h 1304925"/>
                  <a:gd name="connsiteX39" fmla="*/ 506109 w 1197643"/>
                  <a:gd name="connsiteY39" fmla="*/ 1273175 h 1304925"/>
                  <a:gd name="connsiteX40" fmla="*/ 507540 w 1197643"/>
                  <a:gd name="connsiteY40" fmla="*/ 950278 h 1304925"/>
                  <a:gd name="connsiteX41" fmla="*/ 485362 w 1197643"/>
                  <a:gd name="connsiteY41" fmla="*/ 875268 h 1304925"/>
                  <a:gd name="connsiteX42" fmla="*/ 322245 w 1197643"/>
                  <a:gd name="connsiteY42" fmla="*/ 616665 h 1304925"/>
                  <a:gd name="connsiteX43" fmla="*/ 294343 w 1197643"/>
                  <a:gd name="connsiteY43" fmla="*/ 600949 h 1304925"/>
                  <a:gd name="connsiteX44" fmla="*/ 278604 w 1197643"/>
                  <a:gd name="connsiteY44" fmla="*/ 605235 h 1304925"/>
                  <a:gd name="connsiteX45" fmla="*/ 265010 w 1197643"/>
                  <a:gd name="connsiteY45" fmla="*/ 646669 h 1304925"/>
                  <a:gd name="connsiteX46" fmla="*/ 313659 w 1197643"/>
                  <a:gd name="connsiteY46" fmla="*/ 756682 h 1304925"/>
                  <a:gd name="connsiteX47" fmla="*/ 310798 w 1197643"/>
                  <a:gd name="connsiteY47" fmla="*/ 795973 h 1304925"/>
                  <a:gd name="connsiteX48" fmla="*/ 275742 w 1197643"/>
                  <a:gd name="connsiteY48" fmla="*/ 814547 h 1304925"/>
                  <a:gd name="connsiteX49" fmla="*/ 249986 w 1197643"/>
                  <a:gd name="connsiteY49" fmla="*/ 805260 h 1304925"/>
                  <a:gd name="connsiteX50" fmla="*/ 229239 w 1197643"/>
                  <a:gd name="connsiteY50" fmla="*/ 788829 h 1304925"/>
                  <a:gd name="connsiteX51" fmla="*/ 124071 w 1197643"/>
                  <a:gd name="connsiteY51" fmla="*/ 623809 h 1304925"/>
                  <a:gd name="connsiteX52" fmla="*/ 121925 w 1197643"/>
                  <a:gd name="connsiteY52" fmla="*/ 617379 h 1304925"/>
                  <a:gd name="connsiteX53" fmla="*/ 130510 w 1197643"/>
                  <a:gd name="connsiteY53" fmla="*/ 434499 h 1304925"/>
                  <a:gd name="connsiteX54" fmla="*/ 154119 w 1197643"/>
                  <a:gd name="connsiteY54" fmla="*/ 366634 h 1304925"/>
                  <a:gd name="connsiteX55" fmla="*/ 151973 w 1197643"/>
                  <a:gd name="connsiteY55" fmla="*/ 337344 h 1304925"/>
                  <a:gd name="connsiteX56" fmla="*/ 129795 w 1197643"/>
                  <a:gd name="connsiteY56" fmla="*/ 318056 h 1304925"/>
                  <a:gd name="connsiteX57" fmla="*/ 118348 w 1197643"/>
                  <a:gd name="connsiteY57" fmla="*/ 315913 h 1304925"/>
                  <a:gd name="connsiteX58" fmla="*/ 1078223 w 1197643"/>
                  <a:gd name="connsiteY58" fmla="*/ 284163 h 1304925"/>
                  <a:gd name="connsiteX59" fmla="*/ 1143202 w 1197643"/>
                  <a:gd name="connsiteY59" fmla="*/ 329912 h 1304925"/>
                  <a:gd name="connsiteX60" fmla="*/ 1168195 w 1197643"/>
                  <a:gd name="connsiteY60" fmla="*/ 396390 h 1304925"/>
                  <a:gd name="connsiteX61" fmla="*/ 1186760 w 1197643"/>
                  <a:gd name="connsiteY61" fmla="*/ 665877 h 1304925"/>
                  <a:gd name="connsiteX62" fmla="*/ 1183904 w 1197643"/>
                  <a:gd name="connsiteY62" fmla="*/ 679458 h 1304925"/>
                  <a:gd name="connsiteX63" fmla="*/ 1086077 w 1197643"/>
                  <a:gd name="connsiteY63" fmla="*/ 913919 h 1304925"/>
                  <a:gd name="connsiteX64" fmla="*/ 1020383 w 1197643"/>
                  <a:gd name="connsiteY64" fmla="*/ 1013279 h 1304925"/>
                  <a:gd name="connsiteX65" fmla="*/ 988964 w 1197643"/>
                  <a:gd name="connsiteY65" fmla="*/ 1096198 h 1304925"/>
                  <a:gd name="connsiteX66" fmla="*/ 989678 w 1197643"/>
                  <a:gd name="connsiteY66" fmla="*/ 1289199 h 1304925"/>
                  <a:gd name="connsiteX67" fmla="*/ 973969 w 1197643"/>
                  <a:gd name="connsiteY67" fmla="*/ 1304925 h 1304925"/>
                  <a:gd name="connsiteX68" fmla="*/ 667635 w 1197643"/>
                  <a:gd name="connsiteY68" fmla="*/ 1304925 h 1304925"/>
                  <a:gd name="connsiteX69" fmla="*/ 659780 w 1197643"/>
                  <a:gd name="connsiteY69" fmla="*/ 1291344 h 1304925"/>
                  <a:gd name="connsiteX70" fmla="*/ 658352 w 1197643"/>
                  <a:gd name="connsiteY70" fmla="*/ 950375 h 1304925"/>
                  <a:gd name="connsiteX71" fmla="*/ 684773 w 1197643"/>
                  <a:gd name="connsiteY71" fmla="*/ 858163 h 1304925"/>
                  <a:gd name="connsiteX72" fmla="*/ 849008 w 1197643"/>
                  <a:gd name="connsiteY72" fmla="*/ 599398 h 1304925"/>
                  <a:gd name="connsiteX73" fmla="*/ 902563 w 1197643"/>
                  <a:gd name="connsiteY73" fmla="*/ 569376 h 1304925"/>
                  <a:gd name="connsiteX74" fmla="*/ 933267 w 1197643"/>
                  <a:gd name="connsiteY74" fmla="*/ 577954 h 1304925"/>
                  <a:gd name="connsiteX75" fmla="*/ 960402 w 1197643"/>
                  <a:gd name="connsiteY75" fmla="*/ 659443 h 1304925"/>
                  <a:gd name="connsiteX76" fmla="*/ 911845 w 1197643"/>
                  <a:gd name="connsiteY76" fmla="*/ 769525 h 1304925"/>
                  <a:gd name="connsiteX77" fmla="*/ 921128 w 1197643"/>
                  <a:gd name="connsiteY77" fmla="*/ 783107 h 1304925"/>
                  <a:gd name="connsiteX78" fmla="*/ 926841 w 1197643"/>
                  <a:gd name="connsiteY78" fmla="*/ 780963 h 1304925"/>
                  <a:gd name="connsiteX79" fmla="*/ 948263 w 1197643"/>
                  <a:gd name="connsiteY79" fmla="*/ 763807 h 1304925"/>
                  <a:gd name="connsiteX80" fmla="*/ 1042519 w 1197643"/>
                  <a:gd name="connsiteY80" fmla="*/ 616554 h 1304925"/>
                  <a:gd name="connsiteX81" fmla="*/ 1043947 w 1197643"/>
                  <a:gd name="connsiteY81" fmla="*/ 609406 h 1304925"/>
                  <a:gd name="connsiteX82" fmla="*/ 1036093 w 1197643"/>
                  <a:gd name="connsiteY82" fmla="*/ 444997 h 1304925"/>
                  <a:gd name="connsiteX83" fmla="*/ 1013243 w 1197643"/>
                  <a:gd name="connsiteY83" fmla="*/ 376375 h 1304925"/>
                  <a:gd name="connsiteX84" fmla="*/ 1056801 w 1197643"/>
                  <a:gd name="connsiteY84" fmla="*/ 287737 h 1304925"/>
                  <a:gd name="connsiteX85" fmla="*/ 1078223 w 1197643"/>
                  <a:gd name="connsiteY85" fmla="*/ 284163 h 1304925"/>
                  <a:gd name="connsiteX86" fmla="*/ 119420 w 1197643"/>
                  <a:gd name="connsiteY86" fmla="*/ 284163 h 1304925"/>
                  <a:gd name="connsiteX87" fmla="*/ 140842 w 1197643"/>
                  <a:gd name="connsiteY87" fmla="*/ 287737 h 1304925"/>
                  <a:gd name="connsiteX88" fmla="*/ 184400 w 1197643"/>
                  <a:gd name="connsiteY88" fmla="*/ 376375 h 1304925"/>
                  <a:gd name="connsiteX89" fmla="*/ 161550 w 1197643"/>
                  <a:gd name="connsiteY89" fmla="*/ 444997 h 1304925"/>
                  <a:gd name="connsiteX90" fmla="*/ 153695 w 1197643"/>
                  <a:gd name="connsiteY90" fmla="*/ 609406 h 1304925"/>
                  <a:gd name="connsiteX91" fmla="*/ 155123 w 1197643"/>
                  <a:gd name="connsiteY91" fmla="*/ 616554 h 1304925"/>
                  <a:gd name="connsiteX92" fmla="*/ 249380 w 1197643"/>
                  <a:gd name="connsiteY92" fmla="*/ 763807 h 1304925"/>
                  <a:gd name="connsiteX93" fmla="*/ 270802 w 1197643"/>
                  <a:gd name="connsiteY93" fmla="*/ 780963 h 1304925"/>
                  <a:gd name="connsiteX94" fmla="*/ 276514 w 1197643"/>
                  <a:gd name="connsiteY94" fmla="*/ 783107 h 1304925"/>
                  <a:gd name="connsiteX95" fmla="*/ 285797 w 1197643"/>
                  <a:gd name="connsiteY95" fmla="*/ 769525 h 1304925"/>
                  <a:gd name="connsiteX96" fmla="*/ 237241 w 1197643"/>
                  <a:gd name="connsiteY96" fmla="*/ 659443 h 1304925"/>
                  <a:gd name="connsiteX97" fmla="*/ 264375 w 1197643"/>
                  <a:gd name="connsiteY97" fmla="*/ 577954 h 1304925"/>
                  <a:gd name="connsiteX98" fmla="*/ 295080 w 1197643"/>
                  <a:gd name="connsiteY98" fmla="*/ 569376 h 1304925"/>
                  <a:gd name="connsiteX99" fmla="*/ 348635 w 1197643"/>
                  <a:gd name="connsiteY99" fmla="*/ 599398 h 1304925"/>
                  <a:gd name="connsiteX100" fmla="*/ 512870 w 1197643"/>
                  <a:gd name="connsiteY100" fmla="*/ 858163 h 1304925"/>
                  <a:gd name="connsiteX101" fmla="*/ 539290 w 1197643"/>
                  <a:gd name="connsiteY101" fmla="*/ 950375 h 1304925"/>
                  <a:gd name="connsiteX102" fmla="*/ 537862 w 1197643"/>
                  <a:gd name="connsiteY102" fmla="*/ 1291344 h 1304925"/>
                  <a:gd name="connsiteX103" fmla="*/ 530007 w 1197643"/>
                  <a:gd name="connsiteY103" fmla="*/ 1304925 h 1304925"/>
                  <a:gd name="connsiteX104" fmla="*/ 224387 w 1197643"/>
                  <a:gd name="connsiteY104" fmla="*/ 1304925 h 1304925"/>
                  <a:gd name="connsiteX105" fmla="*/ 223673 w 1197643"/>
                  <a:gd name="connsiteY105" fmla="*/ 1304925 h 1304925"/>
                  <a:gd name="connsiteX106" fmla="*/ 207964 w 1197643"/>
                  <a:gd name="connsiteY106" fmla="*/ 1289199 h 1304925"/>
                  <a:gd name="connsiteX107" fmla="*/ 208678 w 1197643"/>
                  <a:gd name="connsiteY107" fmla="*/ 1096198 h 1304925"/>
                  <a:gd name="connsiteX108" fmla="*/ 177259 w 1197643"/>
                  <a:gd name="connsiteY108" fmla="*/ 1013279 h 1304925"/>
                  <a:gd name="connsiteX109" fmla="*/ 111565 w 1197643"/>
                  <a:gd name="connsiteY109" fmla="*/ 913919 h 1304925"/>
                  <a:gd name="connsiteX110" fmla="*/ 13738 w 1197643"/>
                  <a:gd name="connsiteY110" fmla="*/ 679458 h 1304925"/>
                  <a:gd name="connsiteX111" fmla="*/ 10882 w 1197643"/>
                  <a:gd name="connsiteY111" fmla="*/ 665877 h 1304925"/>
                  <a:gd name="connsiteX112" fmla="*/ 29448 w 1197643"/>
                  <a:gd name="connsiteY112" fmla="*/ 396390 h 1304925"/>
                  <a:gd name="connsiteX113" fmla="*/ 54440 w 1197643"/>
                  <a:gd name="connsiteY113" fmla="*/ 329912 h 1304925"/>
                  <a:gd name="connsiteX114" fmla="*/ 119420 w 1197643"/>
                  <a:gd name="connsiteY114" fmla="*/ 284163 h 1304925"/>
                  <a:gd name="connsiteX115" fmla="*/ 586062 w 1197643"/>
                  <a:gd name="connsiteY115" fmla="*/ 84138 h 1304925"/>
                  <a:gd name="connsiteX116" fmla="*/ 611739 w 1197643"/>
                  <a:gd name="connsiteY116" fmla="*/ 84138 h 1304925"/>
                  <a:gd name="connsiteX117" fmla="*/ 611739 w 1197643"/>
                  <a:gd name="connsiteY117" fmla="*/ 102626 h 1304925"/>
                  <a:gd name="connsiteX118" fmla="*/ 641694 w 1197643"/>
                  <a:gd name="connsiteY118" fmla="*/ 112581 h 1304925"/>
                  <a:gd name="connsiteX119" fmla="*/ 633849 w 1197643"/>
                  <a:gd name="connsiteY119" fmla="*/ 136046 h 1304925"/>
                  <a:gd name="connsiteX120" fmla="*/ 600327 w 1197643"/>
                  <a:gd name="connsiteY120" fmla="*/ 125380 h 1304925"/>
                  <a:gd name="connsiteX121" fmla="*/ 585349 w 1197643"/>
                  <a:gd name="connsiteY121" fmla="*/ 130357 h 1304925"/>
                  <a:gd name="connsiteX122" fmla="*/ 579643 w 1197643"/>
                  <a:gd name="connsiteY122" fmla="*/ 144579 h 1304925"/>
                  <a:gd name="connsiteX123" fmla="*/ 611025 w 1197643"/>
                  <a:gd name="connsiteY123" fmla="*/ 172310 h 1304925"/>
                  <a:gd name="connsiteX124" fmla="*/ 635275 w 1197643"/>
                  <a:gd name="connsiteY124" fmla="*/ 187954 h 1304925"/>
                  <a:gd name="connsiteX125" fmla="*/ 645260 w 1197643"/>
                  <a:gd name="connsiteY125" fmla="*/ 202886 h 1304925"/>
                  <a:gd name="connsiteX126" fmla="*/ 648826 w 1197643"/>
                  <a:gd name="connsiteY126" fmla="*/ 222085 h 1304925"/>
                  <a:gd name="connsiteX127" fmla="*/ 638841 w 1197643"/>
                  <a:gd name="connsiteY127" fmla="*/ 249105 h 1304925"/>
                  <a:gd name="connsiteX128" fmla="*/ 611739 w 1197643"/>
                  <a:gd name="connsiteY128" fmla="*/ 264749 h 1304925"/>
                  <a:gd name="connsiteX129" fmla="*/ 611739 w 1197643"/>
                  <a:gd name="connsiteY129" fmla="*/ 288925 h 1304925"/>
                  <a:gd name="connsiteX130" fmla="*/ 586062 w 1197643"/>
                  <a:gd name="connsiteY130" fmla="*/ 288925 h 1304925"/>
                  <a:gd name="connsiteX131" fmla="*/ 586062 w 1197643"/>
                  <a:gd name="connsiteY131" fmla="*/ 266171 h 1304925"/>
                  <a:gd name="connsiteX132" fmla="*/ 550401 w 1197643"/>
                  <a:gd name="connsiteY132" fmla="*/ 254794 h 1304925"/>
                  <a:gd name="connsiteX133" fmla="*/ 561813 w 1197643"/>
                  <a:gd name="connsiteY133" fmla="*/ 229907 h 1304925"/>
                  <a:gd name="connsiteX134" fmla="*/ 594621 w 1197643"/>
                  <a:gd name="connsiteY134" fmla="*/ 241284 h 1304925"/>
                  <a:gd name="connsiteX135" fmla="*/ 620297 w 1197643"/>
                  <a:gd name="connsiteY135" fmla="*/ 224218 h 1304925"/>
                  <a:gd name="connsiteX136" fmla="*/ 613878 w 1197643"/>
                  <a:gd name="connsiteY136" fmla="*/ 208575 h 1304925"/>
                  <a:gd name="connsiteX137" fmla="*/ 588915 w 1197643"/>
                  <a:gd name="connsiteY137" fmla="*/ 191509 h 1304925"/>
                  <a:gd name="connsiteX138" fmla="*/ 564666 w 1197643"/>
                  <a:gd name="connsiteY138" fmla="*/ 177288 h 1304925"/>
                  <a:gd name="connsiteX139" fmla="*/ 553967 w 1197643"/>
                  <a:gd name="connsiteY139" fmla="*/ 162355 h 1304925"/>
                  <a:gd name="connsiteX140" fmla="*/ 551114 w 1197643"/>
                  <a:gd name="connsiteY140" fmla="*/ 144579 h 1304925"/>
                  <a:gd name="connsiteX141" fmla="*/ 561100 w 1197643"/>
                  <a:gd name="connsiteY141" fmla="*/ 118980 h 1304925"/>
                  <a:gd name="connsiteX142" fmla="*/ 586062 w 1197643"/>
                  <a:gd name="connsiteY142" fmla="*/ 104048 h 1304925"/>
                  <a:gd name="connsiteX143" fmla="*/ 586062 w 1197643"/>
                  <a:gd name="connsiteY143" fmla="*/ 84138 h 1304925"/>
                  <a:gd name="connsiteX144" fmla="*/ 248776 w 1197643"/>
                  <a:gd name="connsiteY144" fmla="*/ 31750 h 1304925"/>
                  <a:gd name="connsiteX145" fmla="*/ 248776 w 1197643"/>
                  <a:gd name="connsiteY145" fmla="*/ 341312 h 1304925"/>
                  <a:gd name="connsiteX146" fmla="*/ 947276 w 1197643"/>
                  <a:gd name="connsiteY146" fmla="*/ 341312 h 1304925"/>
                  <a:gd name="connsiteX147" fmla="*/ 947276 w 1197643"/>
                  <a:gd name="connsiteY147" fmla="*/ 31750 h 1304925"/>
                  <a:gd name="connsiteX148" fmla="*/ 248776 w 1197643"/>
                  <a:gd name="connsiteY148" fmla="*/ 31750 h 1304925"/>
                  <a:gd name="connsiteX149" fmla="*/ 226319 w 1197643"/>
                  <a:gd name="connsiteY149" fmla="*/ 0 h 1304925"/>
                  <a:gd name="connsiteX150" fmla="*/ 969734 w 1197643"/>
                  <a:gd name="connsiteY150" fmla="*/ 0 h 1304925"/>
                  <a:gd name="connsiteX151" fmla="*/ 979026 w 1197643"/>
                  <a:gd name="connsiteY151" fmla="*/ 8576 h 1304925"/>
                  <a:gd name="connsiteX152" fmla="*/ 979026 w 1197643"/>
                  <a:gd name="connsiteY152" fmla="*/ 363771 h 1304925"/>
                  <a:gd name="connsiteX153" fmla="*/ 969734 w 1197643"/>
                  <a:gd name="connsiteY153" fmla="*/ 373062 h 1304925"/>
                  <a:gd name="connsiteX154" fmla="*/ 226319 w 1197643"/>
                  <a:gd name="connsiteY154" fmla="*/ 373062 h 1304925"/>
                  <a:gd name="connsiteX155" fmla="*/ 217026 w 1197643"/>
                  <a:gd name="connsiteY155" fmla="*/ 363771 h 1304925"/>
                  <a:gd name="connsiteX156" fmla="*/ 217026 w 1197643"/>
                  <a:gd name="connsiteY156" fmla="*/ 8576 h 1304925"/>
                  <a:gd name="connsiteX157" fmla="*/ 226319 w 1197643"/>
                  <a:gd name="connsiteY157" fmla="*/ 0 h 130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197643" h="1304925">
                    <a:moveTo>
                      <a:pt x="1077708" y="315913"/>
                    </a:moveTo>
                    <a:cubicBezTo>
                      <a:pt x="1074130" y="315913"/>
                      <a:pt x="1069838" y="316627"/>
                      <a:pt x="1066261" y="318056"/>
                    </a:cubicBezTo>
                    <a:cubicBezTo>
                      <a:pt x="1056245" y="321628"/>
                      <a:pt x="1048375" y="328057"/>
                      <a:pt x="1044083" y="337344"/>
                    </a:cubicBezTo>
                    <a:cubicBezTo>
                      <a:pt x="1039075" y="346631"/>
                      <a:pt x="1039075" y="356632"/>
                      <a:pt x="1041936" y="366634"/>
                    </a:cubicBezTo>
                    <a:cubicBezTo>
                      <a:pt x="1041936" y="366634"/>
                      <a:pt x="1041936" y="366634"/>
                      <a:pt x="1065545" y="434499"/>
                    </a:cubicBezTo>
                    <a:cubicBezTo>
                      <a:pt x="1085577" y="493792"/>
                      <a:pt x="1088439" y="556657"/>
                      <a:pt x="1074130" y="617379"/>
                    </a:cubicBezTo>
                    <a:cubicBezTo>
                      <a:pt x="1074130" y="617379"/>
                      <a:pt x="1074130" y="617379"/>
                      <a:pt x="1071984" y="623809"/>
                    </a:cubicBezTo>
                    <a:cubicBezTo>
                      <a:pt x="1056245" y="688817"/>
                      <a:pt x="1019043" y="746681"/>
                      <a:pt x="966816" y="788829"/>
                    </a:cubicBezTo>
                    <a:cubicBezTo>
                      <a:pt x="966816" y="788829"/>
                      <a:pt x="966816" y="788829"/>
                      <a:pt x="946069" y="805260"/>
                    </a:cubicBezTo>
                    <a:cubicBezTo>
                      <a:pt x="938199" y="811689"/>
                      <a:pt x="929614" y="814547"/>
                      <a:pt x="920314" y="814547"/>
                    </a:cubicBezTo>
                    <a:cubicBezTo>
                      <a:pt x="906005" y="814547"/>
                      <a:pt x="893127" y="807403"/>
                      <a:pt x="885258" y="795973"/>
                    </a:cubicBezTo>
                    <a:cubicBezTo>
                      <a:pt x="878103" y="783829"/>
                      <a:pt x="876673" y="769541"/>
                      <a:pt x="882396" y="756682"/>
                    </a:cubicBezTo>
                    <a:cubicBezTo>
                      <a:pt x="882396" y="756682"/>
                      <a:pt x="882396" y="756682"/>
                      <a:pt x="931045" y="646669"/>
                    </a:cubicBezTo>
                    <a:cubicBezTo>
                      <a:pt x="937484" y="631667"/>
                      <a:pt x="931760" y="613807"/>
                      <a:pt x="917452" y="605235"/>
                    </a:cubicBezTo>
                    <a:cubicBezTo>
                      <a:pt x="912444" y="602377"/>
                      <a:pt x="906721" y="600949"/>
                      <a:pt x="901713" y="600949"/>
                    </a:cubicBezTo>
                    <a:cubicBezTo>
                      <a:pt x="890266" y="600949"/>
                      <a:pt x="880250" y="606664"/>
                      <a:pt x="873811" y="616665"/>
                    </a:cubicBezTo>
                    <a:cubicBezTo>
                      <a:pt x="873811" y="616665"/>
                      <a:pt x="873811" y="616665"/>
                      <a:pt x="710693" y="875268"/>
                    </a:cubicBezTo>
                    <a:cubicBezTo>
                      <a:pt x="696385" y="897414"/>
                      <a:pt x="688515" y="923846"/>
                      <a:pt x="688515" y="950278"/>
                    </a:cubicBezTo>
                    <a:cubicBezTo>
                      <a:pt x="688515" y="950278"/>
                      <a:pt x="688515" y="950278"/>
                      <a:pt x="689946" y="1273175"/>
                    </a:cubicBezTo>
                    <a:cubicBezTo>
                      <a:pt x="689946" y="1273175"/>
                      <a:pt x="689946" y="1273175"/>
                      <a:pt x="956800" y="1273175"/>
                    </a:cubicBezTo>
                    <a:cubicBezTo>
                      <a:pt x="956800" y="1273175"/>
                      <a:pt x="956800" y="1273175"/>
                      <a:pt x="956800" y="1096010"/>
                    </a:cubicBezTo>
                    <a:cubicBezTo>
                      <a:pt x="956800" y="1094581"/>
                      <a:pt x="956800" y="1093153"/>
                      <a:pt x="956800" y="1091724"/>
                    </a:cubicBezTo>
                    <a:cubicBezTo>
                      <a:pt x="961808" y="1057434"/>
                      <a:pt x="974686" y="1024573"/>
                      <a:pt x="993287" y="995998"/>
                    </a:cubicBezTo>
                    <a:cubicBezTo>
                      <a:pt x="993287" y="995998"/>
                      <a:pt x="993287" y="995998"/>
                      <a:pt x="1059822" y="896700"/>
                    </a:cubicBezTo>
                    <a:cubicBezTo>
                      <a:pt x="1104894" y="828120"/>
                      <a:pt x="1136373" y="753110"/>
                      <a:pt x="1153543" y="672386"/>
                    </a:cubicBezTo>
                    <a:cubicBezTo>
                      <a:pt x="1153543" y="672386"/>
                      <a:pt x="1153543" y="672386"/>
                      <a:pt x="1156405" y="659527"/>
                    </a:cubicBezTo>
                    <a:cubicBezTo>
                      <a:pt x="1174290" y="575945"/>
                      <a:pt x="1168567" y="488792"/>
                      <a:pt x="1138519" y="408067"/>
                    </a:cubicBezTo>
                    <a:cubicBezTo>
                      <a:pt x="1138519" y="408067"/>
                      <a:pt x="1138519" y="408067"/>
                      <a:pt x="1113479" y="340916"/>
                    </a:cubicBezTo>
                    <a:cubicBezTo>
                      <a:pt x="1107756" y="325914"/>
                      <a:pt x="1093447" y="315913"/>
                      <a:pt x="1077708" y="315913"/>
                    </a:cubicBezTo>
                    <a:close/>
                    <a:moveTo>
                      <a:pt x="118348" y="315913"/>
                    </a:moveTo>
                    <a:cubicBezTo>
                      <a:pt x="102609" y="315913"/>
                      <a:pt x="88300" y="325914"/>
                      <a:pt x="82577" y="340916"/>
                    </a:cubicBezTo>
                    <a:cubicBezTo>
                      <a:pt x="82577" y="340916"/>
                      <a:pt x="82577" y="340916"/>
                      <a:pt x="57537" y="408067"/>
                    </a:cubicBezTo>
                    <a:cubicBezTo>
                      <a:pt x="27489" y="488792"/>
                      <a:pt x="21765" y="575945"/>
                      <a:pt x="39651" y="659527"/>
                    </a:cubicBezTo>
                    <a:cubicBezTo>
                      <a:pt x="39651" y="659527"/>
                      <a:pt x="39651" y="659527"/>
                      <a:pt x="42513" y="672386"/>
                    </a:cubicBezTo>
                    <a:cubicBezTo>
                      <a:pt x="59683" y="753110"/>
                      <a:pt x="91162" y="828120"/>
                      <a:pt x="136234" y="896700"/>
                    </a:cubicBezTo>
                    <a:cubicBezTo>
                      <a:pt x="136234" y="896700"/>
                      <a:pt x="136234" y="896700"/>
                      <a:pt x="202768" y="995998"/>
                    </a:cubicBezTo>
                    <a:cubicBezTo>
                      <a:pt x="221369" y="1024573"/>
                      <a:pt x="234247" y="1057434"/>
                      <a:pt x="239255" y="1091724"/>
                    </a:cubicBezTo>
                    <a:cubicBezTo>
                      <a:pt x="239255" y="1093153"/>
                      <a:pt x="239255" y="1094581"/>
                      <a:pt x="239255" y="1096010"/>
                    </a:cubicBezTo>
                    <a:cubicBezTo>
                      <a:pt x="239255" y="1096010"/>
                      <a:pt x="239255" y="1096010"/>
                      <a:pt x="239255" y="1273175"/>
                    </a:cubicBezTo>
                    <a:cubicBezTo>
                      <a:pt x="239255" y="1273175"/>
                      <a:pt x="239255" y="1273175"/>
                      <a:pt x="506109" y="1273175"/>
                    </a:cubicBezTo>
                    <a:cubicBezTo>
                      <a:pt x="506109" y="1273175"/>
                      <a:pt x="506109" y="1273175"/>
                      <a:pt x="507540" y="950278"/>
                    </a:cubicBezTo>
                    <a:cubicBezTo>
                      <a:pt x="507540" y="923846"/>
                      <a:pt x="499671" y="897414"/>
                      <a:pt x="485362" y="875268"/>
                    </a:cubicBezTo>
                    <a:cubicBezTo>
                      <a:pt x="485362" y="875268"/>
                      <a:pt x="485362" y="875268"/>
                      <a:pt x="322245" y="616665"/>
                    </a:cubicBezTo>
                    <a:cubicBezTo>
                      <a:pt x="315806" y="606664"/>
                      <a:pt x="305790" y="600949"/>
                      <a:pt x="294343" y="600949"/>
                    </a:cubicBezTo>
                    <a:cubicBezTo>
                      <a:pt x="289335" y="600949"/>
                      <a:pt x="283612" y="602377"/>
                      <a:pt x="278604" y="605235"/>
                    </a:cubicBezTo>
                    <a:cubicBezTo>
                      <a:pt x="264295" y="613807"/>
                      <a:pt x="258572" y="631667"/>
                      <a:pt x="265010" y="646669"/>
                    </a:cubicBezTo>
                    <a:cubicBezTo>
                      <a:pt x="265010" y="646669"/>
                      <a:pt x="265010" y="646669"/>
                      <a:pt x="313659" y="756682"/>
                    </a:cubicBezTo>
                    <a:cubicBezTo>
                      <a:pt x="319383" y="769541"/>
                      <a:pt x="317952" y="783829"/>
                      <a:pt x="310798" y="795973"/>
                    </a:cubicBezTo>
                    <a:cubicBezTo>
                      <a:pt x="302928" y="807403"/>
                      <a:pt x="290050" y="814547"/>
                      <a:pt x="275742" y="814547"/>
                    </a:cubicBezTo>
                    <a:cubicBezTo>
                      <a:pt x="266441" y="814547"/>
                      <a:pt x="257856" y="811689"/>
                      <a:pt x="249986" y="805260"/>
                    </a:cubicBezTo>
                    <a:cubicBezTo>
                      <a:pt x="249986" y="805260"/>
                      <a:pt x="249986" y="805260"/>
                      <a:pt x="229239" y="788829"/>
                    </a:cubicBezTo>
                    <a:cubicBezTo>
                      <a:pt x="177013" y="746681"/>
                      <a:pt x="139811" y="688817"/>
                      <a:pt x="124071" y="623809"/>
                    </a:cubicBezTo>
                    <a:cubicBezTo>
                      <a:pt x="124071" y="623809"/>
                      <a:pt x="124071" y="623809"/>
                      <a:pt x="121925" y="617379"/>
                    </a:cubicBezTo>
                    <a:cubicBezTo>
                      <a:pt x="107616" y="556657"/>
                      <a:pt x="110478" y="493792"/>
                      <a:pt x="130510" y="434499"/>
                    </a:cubicBezTo>
                    <a:cubicBezTo>
                      <a:pt x="130510" y="434499"/>
                      <a:pt x="130510" y="434499"/>
                      <a:pt x="154119" y="366634"/>
                    </a:cubicBezTo>
                    <a:cubicBezTo>
                      <a:pt x="157696" y="356632"/>
                      <a:pt x="156981" y="346631"/>
                      <a:pt x="151973" y="337344"/>
                    </a:cubicBezTo>
                    <a:cubicBezTo>
                      <a:pt x="147680" y="328057"/>
                      <a:pt x="139811" y="321628"/>
                      <a:pt x="129795" y="318056"/>
                    </a:cubicBezTo>
                    <a:cubicBezTo>
                      <a:pt x="126218" y="316627"/>
                      <a:pt x="121925" y="315913"/>
                      <a:pt x="118348" y="315913"/>
                    </a:cubicBezTo>
                    <a:close/>
                    <a:moveTo>
                      <a:pt x="1078223" y="284163"/>
                    </a:moveTo>
                    <a:cubicBezTo>
                      <a:pt x="1106785" y="284163"/>
                      <a:pt x="1133206" y="302034"/>
                      <a:pt x="1143202" y="329912"/>
                    </a:cubicBezTo>
                    <a:cubicBezTo>
                      <a:pt x="1143202" y="329912"/>
                      <a:pt x="1143202" y="329912"/>
                      <a:pt x="1168195" y="396390"/>
                    </a:cubicBezTo>
                    <a:cubicBezTo>
                      <a:pt x="1199614" y="482883"/>
                      <a:pt x="1206040" y="576524"/>
                      <a:pt x="1186760" y="665877"/>
                    </a:cubicBezTo>
                    <a:cubicBezTo>
                      <a:pt x="1186760" y="665877"/>
                      <a:pt x="1186760" y="665877"/>
                      <a:pt x="1183904" y="679458"/>
                    </a:cubicBezTo>
                    <a:cubicBezTo>
                      <a:pt x="1166767" y="763092"/>
                      <a:pt x="1133206" y="842437"/>
                      <a:pt x="1086077" y="913919"/>
                    </a:cubicBezTo>
                    <a:cubicBezTo>
                      <a:pt x="1086077" y="913919"/>
                      <a:pt x="1086077" y="913919"/>
                      <a:pt x="1020383" y="1013279"/>
                    </a:cubicBezTo>
                    <a:cubicBezTo>
                      <a:pt x="1003960" y="1038298"/>
                      <a:pt x="993249" y="1066890"/>
                      <a:pt x="988964" y="1096198"/>
                    </a:cubicBezTo>
                    <a:cubicBezTo>
                      <a:pt x="988964" y="1096198"/>
                      <a:pt x="988964" y="1096198"/>
                      <a:pt x="989678" y="1289199"/>
                    </a:cubicBezTo>
                    <a:cubicBezTo>
                      <a:pt x="989678" y="1297777"/>
                      <a:pt x="982538" y="1304925"/>
                      <a:pt x="973969" y="1304925"/>
                    </a:cubicBezTo>
                    <a:cubicBezTo>
                      <a:pt x="973969" y="1304925"/>
                      <a:pt x="973969" y="1304925"/>
                      <a:pt x="667635" y="1304925"/>
                    </a:cubicBezTo>
                    <a:cubicBezTo>
                      <a:pt x="662637" y="1302066"/>
                      <a:pt x="659780" y="1296347"/>
                      <a:pt x="659780" y="1291344"/>
                    </a:cubicBezTo>
                    <a:cubicBezTo>
                      <a:pt x="659780" y="1291344"/>
                      <a:pt x="659780" y="1291344"/>
                      <a:pt x="658352" y="950375"/>
                    </a:cubicBezTo>
                    <a:cubicBezTo>
                      <a:pt x="658352" y="917493"/>
                      <a:pt x="667635" y="886041"/>
                      <a:pt x="684773" y="858163"/>
                    </a:cubicBezTo>
                    <a:cubicBezTo>
                      <a:pt x="684773" y="858163"/>
                      <a:pt x="684773" y="858163"/>
                      <a:pt x="849008" y="599398"/>
                    </a:cubicBezTo>
                    <a:cubicBezTo>
                      <a:pt x="860433" y="580098"/>
                      <a:pt x="881141" y="569376"/>
                      <a:pt x="902563" y="569376"/>
                    </a:cubicBezTo>
                    <a:cubicBezTo>
                      <a:pt x="912559" y="569376"/>
                      <a:pt x="923984" y="572235"/>
                      <a:pt x="933267" y="577954"/>
                    </a:cubicBezTo>
                    <a:cubicBezTo>
                      <a:pt x="961830" y="594395"/>
                      <a:pt x="973969" y="629421"/>
                      <a:pt x="960402" y="659443"/>
                    </a:cubicBezTo>
                    <a:cubicBezTo>
                      <a:pt x="960402" y="659443"/>
                      <a:pt x="960402" y="659443"/>
                      <a:pt x="911845" y="769525"/>
                    </a:cubicBezTo>
                    <a:cubicBezTo>
                      <a:pt x="908989" y="776674"/>
                      <a:pt x="914702" y="783107"/>
                      <a:pt x="921128" y="783107"/>
                    </a:cubicBezTo>
                    <a:cubicBezTo>
                      <a:pt x="922556" y="783107"/>
                      <a:pt x="924699" y="782392"/>
                      <a:pt x="926841" y="780963"/>
                    </a:cubicBezTo>
                    <a:cubicBezTo>
                      <a:pt x="926841" y="780963"/>
                      <a:pt x="926841" y="780963"/>
                      <a:pt x="948263" y="763807"/>
                    </a:cubicBezTo>
                    <a:cubicBezTo>
                      <a:pt x="994677" y="726636"/>
                      <a:pt x="1028238" y="674454"/>
                      <a:pt x="1042519" y="616554"/>
                    </a:cubicBezTo>
                    <a:cubicBezTo>
                      <a:pt x="1042519" y="616554"/>
                      <a:pt x="1042519" y="616554"/>
                      <a:pt x="1043947" y="609406"/>
                    </a:cubicBezTo>
                    <a:cubicBezTo>
                      <a:pt x="1057515" y="555080"/>
                      <a:pt x="1054658" y="497894"/>
                      <a:pt x="1036093" y="444997"/>
                    </a:cubicBezTo>
                    <a:cubicBezTo>
                      <a:pt x="1036093" y="444997"/>
                      <a:pt x="1036093" y="444997"/>
                      <a:pt x="1013243" y="376375"/>
                    </a:cubicBezTo>
                    <a:cubicBezTo>
                      <a:pt x="1000389" y="339919"/>
                      <a:pt x="1019669" y="299889"/>
                      <a:pt x="1056801" y="287737"/>
                    </a:cubicBezTo>
                    <a:cubicBezTo>
                      <a:pt x="1063941" y="285593"/>
                      <a:pt x="1071082" y="284163"/>
                      <a:pt x="1078223" y="284163"/>
                    </a:cubicBezTo>
                    <a:close/>
                    <a:moveTo>
                      <a:pt x="119420" y="284163"/>
                    </a:moveTo>
                    <a:cubicBezTo>
                      <a:pt x="126561" y="284163"/>
                      <a:pt x="133701" y="285593"/>
                      <a:pt x="140842" y="287737"/>
                    </a:cubicBezTo>
                    <a:cubicBezTo>
                      <a:pt x="177973" y="299889"/>
                      <a:pt x="197253" y="339919"/>
                      <a:pt x="184400" y="376375"/>
                    </a:cubicBezTo>
                    <a:cubicBezTo>
                      <a:pt x="184400" y="376375"/>
                      <a:pt x="184400" y="376375"/>
                      <a:pt x="161550" y="444997"/>
                    </a:cubicBezTo>
                    <a:cubicBezTo>
                      <a:pt x="142984" y="497894"/>
                      <a:pt x="140128" y="555080"/>
                      <a:pt x="153695" y="609406"/>
                    </a:cubicBezTo>
                    <a:cubicBezTo>
                      <a:pt x="153695" y="609406"/>
                      <a:pt x="153695" y="609406"/>
                      <a:pt x="155123" y="616554"/>
                    </a:cubicBezTo>
                    <a:cubicBezTo>
                      <a:pt x="169404" y="674454"/>
                      <a:pt x="202966" y="726636"/>
                      <a:pt x="249380" y="763807"/>
                    </a:cubicBezTo>
                    <a:cubicBezTo>
                      <a:pt x="249380" y="763807"/>
                      <a:pt x="249380" y="763807"/>
                      <a:pt x="270802" y="780963"/>
                    </a:cubicBezTo>
                    <a:cubicBezTo>
                      <a:pt x="272944" y="782392"/>
                      <a:pt x="275086" y="783107"/>
                      <a:pt x="276514" y="783107"/>
                    </a:cubicBezTo>
                    <a:cubicBezTo>
                      <a:pt x="282941" y="783107"/>
                      <a:pt x="288653" y="776674"/>
                      <a:pt x="285797" y="769525"/>
                    </a:cubicBezTo>
                    <a:cubicBezTo>
                      <a:pt x="285797" y="769525"/>
                      <a:pt x="285797" y="769525"/>
                      <a:pt x="237241" y="659443"/>
                    </a:cubicBezTo>
                    <a:cubicBezTo>
                      <a:pt x="223673" y="629421"/>
                      <a:pt x="235813" y="594395"/>
                      <a:pt x="264375" y="577954"/>
                    </a:cubicBezTo>
                    <a:cubicBezTo>
                      <a:pt x="273658" y="572235"/>
                      <a:pt x="285083" y="569376"/>
                      <a:pt x="295080" y="569376"/>
                    </a:cubicBezTo>
                    <a:cubicBezTo>
                      <a:pt x="316502" y="569376"/>
                      <a:pt x="337210" y="580098"/>
                      <a:pt x="348635" y="599398"/>
                    </a:cubicBezTo>
                    <a:cubicBezTo>
                      <a:pt x="348635" y="599398"/>
                      <a:pt x="348635" y="599398"/>
                      <a:pt x="512870" y="858163"/>
                    </a:cubicBezTo>
                    <a:cubicBezTo>
                      <a:pt x="530007" y="886041"/>
                      <a:pt x="539290" y="917493"/>
                      <a:pt x="539290" y="950375"/>
                    </a:cubicBezTo>
                    <a:cubicBezTo>
                      <a:pt x="539290" y="950375"/>
                      <a:pt x="539290" y="950375"/>
                      <a:pt x="537862" y="1291344"/>
                    </a:cubicBezTo>
                    <a:cubicBezTo>
                      <a:pt x="537862" y="1296347"/>
                      <a:pt x="535006" y="1302066"/>
                      <a:pt x="530007" y="1304925"/>
                    </a:cubicBezTo>
                    <a:cubicBezTo>
                      <a:pt x="530007" y="1304925"/>
                      <a:pt x="530007" y="1304925"/>
                      <a:pt x="224387" y="1304925"/>
                    </a:cubicBezTo>
                    <a:cubicBezTo>
                      <a:pt x="223673" y="1304925"/>
                      <a:pt x="223673" y="1304925"/>
                      <a:pt x="223673" y="1304925"/>
                    </a:cubicBezTo>
                    <a:cubicBezTo>
                      <a:pt x="215105" y="1304925"/>
                      <a:pt x="207964" y="1297777"/>
                      <a:pt x="207964" y="1289199"/>
                    </a:cubicBezTo>
                    <a:cubicBezTo>
                      <a:pt x="207964" y="1289199"/>
                      <a:pt x="207964" y="1289199"/>
                      <a:pt x="208678" y="1096198"/>
                    </a:cubicBezTo>
                    <a:cubicBezTo>
                      <a:pt x="204394" y="1066890"/>
                      <a:pt x="193683" y="1038298"/>
                      <a:pt x="177259" y="1013279"/>
                    </a:cubicBezTo>
                    <a:cubicBezTo>
                      <a:pt x="177259" y="1013279"/>
                      <a:pt x="177259" y="1013279"/>
                      <a:pt x="111565" y="913919"/>
                    </a:cubicBezTo>
                    <a:cubicBezTo>
                      <a:pt x="64437" y="842437"/>
                      <a:pt x="30876" y="763092"/>
                      <a:pt x="13738" y="679458"/>
                    </a:cubicBezTo>
                    <a:cubicBezTo>
                      <a:pt x="13738" y="679458"/>
                      <a:pt x="13738" y="679458"/>
                      <a:pt x="10882" y="665877"/>
                    </a:cubicBezTo>
                    <a:cubicBezTo>
                      <a:pt x="-8398" y="576524"/>
                      <a:pt x="-1971" y="482883"/>
                      <a:pt x="29448" y="396390"/>
                    </a:cubicBezTo>
                    <a:cubicBezTo>
                      <a:pt x="29448" y="396390"/>
                      <a:pt x="29448" y="396390"/>
                      <a:pt x="54440" y="329912"/>
                    </a:cubicBezTo>
                    <a:cubicBezTo>
                      <a:pt x="64437" y="302034"/>
                      <a:pt x="90857" y="284163"/>
                      <a:pt x="119420" y="284163"/>
                    </a:cubicBezTo>
                    <a:close/>
                    <a:moveTo>
                      <a:pt x="586062" y="84138"/>
                    </a:moveTo>
                    <a:cubicBezTo>
                      <a:pt x="611739" y="84138"/>
                      <a:pt x="611739" y="84138"/>
                      <a:pt x="611739" y="84138"/>
                    </a:cubicBezTo>
                    <a:cubicBezTo>
                      <a:pt x="611739" y="102626"/>
                      <a:pt x="611739" y="102626"/>
                      <a:pt x="611739" y="102626"/>
                    </a:cubicBezTo>
                    <a:cubicBezTo>
                      <a:pt x="624577" y="104048"/>
                      <a:pt x="635988" y="106892"/>
                      <a:pt x="641694" y="112581"/>
                    </a:cubicBezTo>
                    <a:cubicBezTo>
                      <a:pt x="633849" y="136046"/>
                      <a:pt x="633849" y="136046"/>
                      <a:pt x="633849" y="136046"/>
                    </a:cubicBezTo>
                    <a:cubicBezTo>
                      <a:pt x="623150" y="128935"/>
                      <a:pt x="611739" y="125380"/>
                      <a:pt x="600327" y="125380"/>
                    </a:cubicBezTo>
                    <a:cubicBezTo>
                      <a:pt x="593908" y="125380"/>
                      <a:pt x="588915" y="127513"/>
                      <a:pt x="585349" y="130357"/>
                    </a:cubicBezTo>
                    <a:cubicBezTo>
                      <a:pt x="581070" y="133913"/>
                      <a:pt x="579643" y="138890"/>
                      <a:pt x="579643" y="144579"/>
                    </a:cubicBezTo>
                    <a:cubicBezTo>
                      <a:pt x="579643" y="153112"/>
                      <a:pt x="589629" y="163066"/>
                      <a:pt x="611025" y="172310"/>
                    </a:cubicBezTo>
                    <a:cubicBezTo>
                      <a:pt x="621724" y="177999"/>
                      <a:pt x="630282" y="183687"/>
                      <a:pt x="635275" y="187954"/>
                    </a:cubicBezTo>
                    <a:cubicBezTo>
                      <a:pt x="639554" y="192220"/>
                      <a:pt x="642407" y="197198"/>
                      <a:pt x="645260" y="202886"/>
                    </a:cubicBezTo>
                    <a:cubicBezTo>
                      <a:pt x="647400" y="209286"/>
                      <a:pt x="648826" y="214974"/>
                      <a:pt x="648826" y="222085"/>
                    </a:cubicBezTo>
                    <a:cubicBezTo>
                      <a:pt x="648826" y="232751"/>
                      <a:pt x="645973" y="241284"/>
                      <a:pt x="638841" y="249105"/>
                    </a:cubicBezTo>
                    <a:cubicBezTo>
                      <a:pt x="633135" y="256216"/>
                      <a:pt x="623150" y="261905"/>
                      <a:pt x="611739" y="264749"/>
                    </a:cubicBezTo>
                    <a:cubicBezTo>
                      <a:pt x="611739" y="288925"/>
                      <a:pt x="611739" y="288925"/>
                      <a:pt x="611739" y="288925"/>
                    </a:cubicBezTo>
                    <a:cubicBezTo>
                      <a:pt x="586062" y="288925"/>
                      <a:pt x="586062" y="288925"/>
                      <a:pt x="586062" y="288925"/>
                    </a:cubicBezTo>
                    <a:cubicBezTo>
                      <a:pt x="586062" y="266171"/>
                      <a:pt x="586062" y="266171"/>
                      <a:pt x="586062" y="266171"/>
                    </a:cubicBezTo>
                    <a:cubicBezTo>
                      <a:pt x="573224" y="266171"/>
                      <a:pt x="561813" y="261905"/>
                      <a:pt x="550401" y="254794"/>
                    </a:cubicBezTo>
                    <a:cubicBezTo>
                      <a:pt x="561813" y="229907"/>
                      <a:pt x="561813" y="229907"/>
                      <a:pt x="561813" y="229907"/>
                    </a:cubicBezTo>
                    <a:cubicBezTo>
                      <a:pt x="572511" y="237728"/>
                      <a:pt x="583923" y="241284"/>
                      <a:pt x="594621" y="241284"/>
                    </a:cubicBezTo>
                    <a:cubicBezTo>
                      <a:pt x="611739" y="241284"/>
                      <a:pt x="620297" y="235595"/>
                      <a:pt x="620297" y="224218"/>
                    </a:cubicBezTo>
                    <a:cubicBezTo>
                      <a:pt x="620297" y="218530"/>
                      <a:pt x="618158" y="213552"/>
                      <a:pt x="613878" y="208575"/>
                    </a:cubicBezTo>
                    <a:cubicBezTo>
                      <a:pt x="609599" y="203597"/>
                      <a:pt x="601040" y="197909"/>
                      <a:pt x="588915" y="191509"/>
                    </a:cubicBezTo>
                    <a:cubicBezTo>
                      <a:pt x="576791" y="185821"/>
                      <a:pt x="569658" y="180843"/>
                      <a:pt x="564666" y="177288"/>
                    </a:cubicBezTo>
                    <a:cubicBezTo>
                      <a:pt x="560386" y="172310"/>
                      <a:pt x="557533" y="168044"/>
                      <a:pt x="553967" y="162355"/>
                    </a:cubicBezTo>
                    <a:cubicBezTo>
                      <a:pt x="551828" y="156667"/>
                      <a:pt x="551114" y="150978"/>
                      <a:pt x="551114" y="144579"/>
                    </a:cubicBezTo>
                    <a:cubicBezTo>
                      <a:pt x="551114" y="133913"/>
                      <a:pt x="553967" y="125380"/>
                      <a:pt x="561100" y="118980"/>
                    </a:cubicBezTo>
                    <a:cubicBezTo>
                      <a:pt x="567519" y="111870"/>
                      <a:pt x="575364" y="106892"/>
                      <a:pt x="586062" y="104048"/>
                    </a:cubicBezTo>
                    <a:cubicBezTo>
                      <a:pt x="586062" y="84138"/>
                      <a:pt x="586062" y="84138"/>
                      <a:pt x="586062" y="84138"/>
                    </a:cubicBezTo>
                    <a:close/>
                    <a:moveTo>
                      <a:pt x="248776" y="31750"/>
                    </a:moveTo>
                    <a:cubicBezTo>
                      <a:pt x="248776" y="31750"/>
                      <a:pt x="248776" y="31750"/>
                      <a:pt x="248776" y="341312"/>
                    </a:cubicBezTo>
                    <a:cubicBezTo>
                      <a:pt x="248776" y="341312"/>
                      <a:pt x="248776" y="341312"/>
                      <a:pt x="947276" y="341312"/>
                    </a:cubicBezTo>
                    <a:cubicBezTo>
                      <a:pt x="947276" y="341312"/>
                      <a:pt x="947276" y="341312"/>
                      <a:pt x="947276" y="31750"/>
                    </a:cubicBezTo>
                    <a:cubicBezTo>
                      <a:pt x="947276" y="31750"/>
                      <a:pt x="947276" y="31750"/>
                      <a:pt x="248776" y="31750"/>
                    </a:cubicBezTo>
                    <a:close/>
                    <a:moveTo>
                      <a:pt x="226319" y="0"/>
                    </a:moveTo>
                    <a:cubicBezTo>
                      <a:pt x="969734" y="0"/>
                      <a:pt x="969734" y="0"/>
                      <a:pt x="969734" y="0"/>
                    </a:cubicBezTo>
                    <a:cubicBezTo>
                      <a:pt x="975452" y="0"/>
                      <a:pt x="979026" y="3574"/>
                      <a:pt x="979026" y="8576"/>
                    </a:cubicBezTo>
                    <a:cubicBezTo>
                      <a:pt x="979026" y="363771"/>
                      <a:pt x="979026" y="363771"/>
                      <a:pt x="979026" y="363771"/>
                    </a:cubicBezTo>
                    <a:cubicBezTo>
                      <a:pt x="979026" y="368774"/>
                      <a:pt x="975452" y="373062"/>
                      <a:pt x="969734" y="373062"/>
                    </a:cubicBezTo>
                    <a:cubicBezTo>
                      <a:pt x="226319" y="373062"/>
                      <a:pt x="226319" y="373062"/>
                      <a:pt x="226319" y="373062"/>
                    </a:cubicBezTo>
                    <a:cubicBezTo>
                      <a:pt x="221315" y="373062"/>
                      <a:pt x="217026" y="368774"/>
                      <a:pt x="217026" y="363771"/>
                    </a:cubicBezTo>
                    <a:cubicBezTo>
                      <a:pt x="217026" y="8576"/>
                      <a:pt x="217026" y="8576"/>
                      <a:pt x="217026" y="8576"/>
                    </a:cubicBezTo>
                    <a:cubicBezTo>
                      <a:pt x="217026" y="3574"/>
                      <a:pt x="221315" y="0"/>
                      <a:pt x="226319" y="0"/>
                    </a:cubicBezTo>
                    <a:close/>
                  </a:path>
                </a:pathLst>
              </a:custGeom>
              <a:solidFill>
                <a:srgbClr val="294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3" name="bcgIcons_Cheese ">
            <a:extLst>
              <a:ext uri="{FF2B5EF4-FFF2-40B4-BE49-F238E27FC236}">
                <a16:creationId xmlns:a16="http://schemas.microsoft.com/office/drawing/2014/main" id="{35838036-D797-E623-DBFB-327D496C6C69}"/>
              </a:ext>
            </a:extLst>
          </p:cNvPr>
          <p:cNvGrpSpPr>
            <a:grpSpLocks noChangeAspect="1"/>
          </p:cNvGrpSpPr>
          <p:nvPr/>
        </p:nvGrpSpPr>
        <p:grpSpPr>
          <a:xfrm>
            <a:off x="6901597" y="1477825"/>
            <a:ext cx="528042" cy="528042"/>
            <a:chOff x="5273802" y="2514562"/>
            <a:chExt cx="1646238" cy="1646238"/>
          </a:xfrm>
        </p:grpSpPr>
        <p:sp>
          <p:nvSpPr>
            <p:cNvPr id="64" name="AutoShape 14">
              <a:extLst>
                <a:ext uri="{FF2B5EF4-FFF2-40B4-BE49-F238E27FC236}">
                  <a16:creationId xmlns:a16="http://schemas.microsoft.com/office/drawing/2014/main" id="{E9787E5B-06B0-A196-7F8A-E76C266D15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2" y="2514562"/>
              <a:ext cx="1646238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A81D0285-89B7-1D4E-88B8-9BDE631BCD17}"/>
                </a:ext>
              </a:extLst>
            </p:cNvPr>
            <p:cNvGrpSpPr/>
            <p:nvPr/>
          </p:nvGrpSpPr>
          <p:grpSpPr>
            <a:xfrm>
              <a:off x="5445405" y="2748099"/>
              <a:ext cx="1303033" cy="1179164"/>
              <a:chOff x="5443290" y="2716679"/>
              <a:chExt cx="1303033" cy="1179164"/>
            </a:xfrm>
          </p:grpSpPr>
          <p:sp>
            <p:nvSpPr>
              <p:cNvPr id="66" name="Freeform 16">
                <a:extLst>
                  <a:ext uri="{FF2B5EF4-FFF2-40B4-BE49-F238E27FC236}">
                    <a16:creationId xmlns:a16="http://schemas.microsoft.com/office/drawing/2014/main" id="{51B3CF6A-428E-6762-544C-8B5D9FC32D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2385" y="2871061"/>
                <a:ext cx="1006957" cy="814509"/>
              </a:xfrm>
              <a:custGeom>
                <a:avLst/>
                <a:gdLst>
                  <a:gd name="T0" fmla="*/ 1159 w 1409"/>
                  <a:gd name="T1" fmla="*/ 88 h 1140"/>
                  <a:gd name="T2" fmla="*/ 1071 w 1409"/>
                  <a:gd name="T3" fmla="*/ 176 h 1140"/>
                  <a:gd name="T4" fmla="*/ 983 w 1409"/>
                  <a:gd name="T5" fmla="*/ 88 h 1140"/>
                  <a:gd name="T6" fmla="*/ 1071 w 1409"/>
                  <a:gd name="T7" fmla="*/ 0 h 1140"/>
                  <a:gd name="T8" fmla="*/ 1159 w 1409"/>
                  <a:gd name="T9" fmla="*/ 88 h 1140"/>
                  <a:gd name="T10" fmla="*/ 715 w 1409"/>
                  <a:gd name="T11" fmla="*/ 548 h 1140"/>
                  <a:gd name="T12" fmla="*/ 643 w 1409"/>
                  <a:gd name="T13" fmla="*/ 620 h 1140"/>
                  <a:gd name="T14" fmla="*/ 715 w 1409"/>
                  <a:gd name="T15" fmla="*/ 692 h 1140"/>
                  <a:gd name="T16" fmla="*/ 787 w 1409"/>
                  <a:gd name="T17" fmla="*/ 620 h 1140"/>
                  <a:gd name="T18" fmla="*/ 715 w 1409"/>
                  <a:gd name="T19" fmla="*/ 548 h 1140"/>
                  <a:gd name="T20" fmla="*/ 523 w 1409"/>
                  <a:gd name="T21" fmla="*/ 924 h 1140"/>
                  <a:gd name="T22" fmla="*/ 415 w 1409"/>
                  <a:gd name="T23" fmla="*/ 1032 h 1140"/>
                  <a:gd name="T24" fmla="*/ 523 w 1409"/>
                  <a:gd name="T25" fmla="*/ 1140 h 1140"/>
                  <a:gd name="T26" fmla="*/ 631 w 1409"/>
                  <a:gd name="T27" fmla="*/ 1032 h 1140"/>
                  <a:gd name="T28" fmla="*/ 523 w 1409"/>
                  <a:gd name="T29" fmla="*/ 924 h 1140"/>
                  <a:gd name="T30" fmla="*/ 1117 w 1409"/>
                  <a:gd name="T31" fmla="*/ 530 h 1140"/>
                  <a:gd name="T32" fmla="*/ 825 w 1409"/>
                  <a:gd name="T33" fmla="*/ 822 h 1140"/>
                  <a:gd name="T34" fmla="*/ 949 w 1409"/>
                  <a:gd name="T35" fmla="*/ 1061 h 1140"/>
                  <a:gd name="T36" fmla="*/ 1381 w 1409"/>
                  <a:gd name="T37" fmla="*/ 946 h 1140"/>
                  <a:gd name="T38" fmla="*/ 1409 w 1409"/>
                  <a:gd name="T39" fmla="*/ 822 h 1140"/>
                  <a:gd name="T40" fmla="*/ 1117 w 1409"/>
                  <a:gd name="T41" fmla="*/ 530 h 1140"/>
                  <a:gd name="T42" fmla="*/ 208 w 1409"/>
                  <a:gd name="T43" fmla="*/ 986 h 1140"/>
                  <a:gd name="T44" fmla="*/ 417 w 1409"/>
                  <a:gd name="T45" fmla="*/ 777 h 1140"/>
                  <a:gd name="T46" fmla="*/ 366 w 1409"/>
                  <a:gd name="T47" fmla="*/ 640 h 1140"/>
                  <a:gd name="T48" fmla="*/ 0 w 1409"/>
                  <a:gd name="T49" fmla="*/ 800 h 1140"/>
                  <a:gd name="T50" fmla="*/ 208 w 1409"/>
                  <a:gd name="T51" fmla="*/ 986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09" h="1140">
                    <a:moveTo>
                      <a:pt x="1159" y="88"/>
                    </a:moveTo>
                    <a:cubicBezTo>
                      <a:pt x="1159" y="137"/>
                      <a:pt x="1120" y="176"/>
                      <a:pt x="1071" y="176"/>
                    </a:cubicBezTo>
                    <a:cubicBezTo>
                      <a:pt x="1022" y="176"/>
                      <a:pt x="983" y="137"/>
                      <a:pt x="983" y="88"/>
                    </a:cubicBezTo>
                    <a:cubicBezTo>
                      <a:pt x="983" y="39"/>
                      <a:pt x="1022" y="0"/>
                      <a:pt x="1071" y="0"/>
                    </a:cubicBezTo>
                    <a:cubicBezTo>
                      <a:pt x="1120" y="0"/>
                      <a:pt x="1159" y="39"/>
                      <a:pt x="1159" y="88"/>
                    </a:cubicBezTo>
                    <a:close/>
                    <a:moveTo>
                      <a:pt x="715" y="548"/>
                    </a:moveTo>
                    <a:cubicBezTo>
                      <a:pt x="675" y="548"/>
                      <a:pt x="643" y="580"/>
                      <a:pt x="643" y="620"/>
                    </a:cubicBezTo>
                    <a:cubicBezTo>
                      <a:pt x="643" y="660"/>
                      <a:pt x="675" y="692"/>
                      <a:pt x="715" y="692"/>
                    </a:cubicBezTo>
                    <a:cubicBezTo>
                      <a:pt x="755" y="692"/>
                      <a:pt x="787" y="660"/>
                      <a:pt x="787" y="620"/>
                    </a:cubicBezTo>
                    <a:cubicBezTo>
                      <a:pt x="787" y="580"/>
                      <a:pt x="755" y="548"/>
                      <a:pt x="715" y="548"/>
                    </a:cubicBezTo>
                    <a:close/>
                    <a:moveTo>
                      <a:pt x="523" y="924"/>
                    </a:moveTo>
                    <a:cubicBezTo>
                      <a:pt x="463" y="924"/>
                      <a:pt x="415" y="972"/>
                      <a:pt x="415" y="1032"/>
                    </a:cubicBezTo>
                    <a:cubicBezTo>
                      <a:pt x="415" y="1092"/>
                      <a:pt x="463" y="1140"/>
                      <a:pt x="523" y="1140"/>
                    </a:cubicBezTo>
                    <a:cubicBezTo>
                      <a:pt x="583" y="1140"/>
                      <a:pt x="631" y="1092"/>
                      <a:pt x="631" y="1032"/>
                    </a:cubicBezTo>
                    <a:cubicBezTo>
                      <a:pt x="631" y="972"/>
                      <a:pt x="583" y="924"/>
                      <a:pt x="523" y="924"/>
                    </a:cubicBezTo>
                    <a:close/>
                    <a:moveTo>
                      <a:pt x="1117" y="530"/>
                    </a:moveTo>
                    <a:cubicBezTo>
                      <a:pt x="956" y="530"/>
                      <a:pt x="825" y="661"/>
                      <a:pt x="825" y="822"/>
                    </a:cubicBezTo>
                    <a:cubicBezTo>
                      <a:pt x="825" y="921"/>
                      <a:pt x="874" y="1008"/>
                      <a:pt x="949" y="1061"/>
                    </a:cubicBezTo>
                    <a:cubicBezTo>
                      <a:pt x="1381" y="946"/>
                      <a:pt x="1381" y="946"/>
                      <a:pt x="1381" y="946"/>
                    </a:cubicBezTo>
                    <a:cubicBezTo>
                      <a:pt x="1399" y="908"/>
                      <a:pt x="1409" y="866"/>
                      <a:pt x="1409" y="822"/>
                    </a:cubicBezTo>
                    <a:cubicBezTo>
                      <a:pt x="1409" y="661"/>
                      <a:pt x="1278" y="530"/>
                      <a:pt x="1117" y="530"/>
                    </a:cubicBezTo>
                    <a:close/>
                    <a:moveTo>
                      <a:pt x="208" y="986"/>
                    </a:moveTo>
                    <a:cubicBezTo>
                      <a:pt x="323" y="986"/>
                      <a:pt x="417" y="892"/>
                      <a:pt x="417" y="777"/>
                    </a:cubicBezTo>
                    <a:cubicBezTo>
                      <a:pt x="417" y="725"/>
                      <a:pt x="398" y="677"/>
                      <a:pt x="366" y="640"/>
                    </a:cubicBezTo>
                    <a:cubicBezTo>
                      <a:pt x="0" y="800"/>
                      <a:pt x="0" y="800"/>
                      <a:pt x="0" y="800"/>
                    </a:cubicBezTo>
                    <a:cubicBezTo>
                      <a:pt x="12" y="904"/>
                      <a:pt x="100" y="986"/>
                      <a:pt x="208" y="986"/>
                    </a:cubicBezTo>
                    <a:close/>
                  </a:path>
                </a:pathLst>
              </a:custGeom>
              <a:solidFill>
                <a:srgbClr val="539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7">
                <a:extLst>
                  <a:ext uri="{FF2B5EF4-FFF2-40B4-BE49-F238E27FC236}">
                    <a16:creationId xmlns:a16="http://schemas.microsoft.com/office/drawing/2014/main" id="{88598DFB-00F6-963E-75A9-58F3487AAC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3290" y="2716679"/>
                <a:ext cx="1303033" cy="1179164"/>
              </a:xfrm>
              <a:custGeom>
                <a:avLst/>
                <a:gdLst>
                  <a:gd name="T0" fmla="*/ 1786 w 1824"/>
                  <a:gd name="T1" fmla="*/ 698 h 1650"/>
                  <a:gd name="T2" fmla="*/ 1774 w 1824"/>
                  <a:gd name="T3" fmla="*/ 427 h 1650"/>
                  <a:gd name="T4" fmla="*/ 1784 w 1824"/>
                  <a:gd name="T5" fmla="*/ 299 h 1650"/>
                  <a:gd name="T6" fmla="*/ 1784 w 1824"/>
                  <a:gd name="T7" fmla="*/ 297 h 1650"/>
                  <a:gd name="T8" fmla="*/ 1783 w 1824"/>
                  <a:gd name="T9" fmla="*/ 294 h 1650"/>
                  <a:gd name="T10" fmla="*/ 1782 w 1824"/>
                  <a:gd name="T11" fmla="*/ 290 h 1650"/>
                  <a:gd name="T12" fmla="*/ 1780 w 1824"/>
                  <a:gd name="T13" fmla="*/ 288 h 1650"/>
                  <a:gd name="T14" fmla="*/ 1778 w 1824"/>
                  <a:gd name="T15" fmla="*/ 285 h 1650"/>
                  <a:gd name="T16" fmla="*/ 1776 w 1824"/>
                  <a:gd name="T17" fmla="*/ 283 h 1650"/>
                  <a:gd name="T18" fmla="*/ 1774 w 1824"/>
                  <a:gd name="T19" fmla="*/ 281 h 1650"/>
                  <a:gd name="T20" fmla="*/ 1771 w 1824"/>
                  <a:gd name="T21" fmla="*/ 280 h 1650"/>
                  <a:gd name="T22" fmla="*/ 1159 w 1824"/>
                  <a:gd name="T23" fmla="*/ 4 h 1650"/>
                  <a:gd name="T24" fmla="*/ 1080 w 1824"/>
                  <a:gd name="T25" fmla="*/ 58 h 1650"/>
                  <a:gd name="T26" fmla="*/ 1096 w 1824"/>
                  <a:gd name="T27" fmla="*/ 157 h 1650"/>
                  <a:gd name="T28" fmla="*/ 873 w 1824"/>
                  <a:gd name="T29" fmla="*/ 272 h 1650"/>
                  <a:gd name="T30" fmla="*/ 7 w 1824"/>
                  <a:gd name="T31" fmla="*/ 1044 h 1650"/>
                  <a:gd name="T32" fmla="*/ 5 w 1824"/>
                  <a:gd name="T33" fmla="*/ 1046 h 1650"/>
                  <a:gd name="T34" fmla="*/ 3 w 1824"/>
                  <a:gd name="T35" fmla="*/ 1049 h 1650"/>
                  <a:gd name="T36" fmla="*/ 2 w 1824"/>
                  <a:gd name="T37" fmla="*/ 1052 h 1650"/>
                  <a:gd name="T38" fmla="*/ 1 w 1824"/>
                  <a:gd name="T39" fmla="*/ 1056 h 1650"/>
                  <a:gd name="T40" fmla="*/ 0 w 1824"/>
                  <a:gd name="T41" fmla="*/ 1059 h 1650"/>
                  <a:gd name="T42" fmla="*/ 0 w 1824"/>
                  <a:gd name="T43" fmla="*/ 1063 h 1650"/>
                  <a:gd name="T44" fmla="*/ 1 w 1824"/>
                  <a:gd name="T45" fmla="*/ 1066 h 1650"/>
                  <a:gd name="T46" fmla="*/ 43 w 1824"/>
                  <a:gd name="T47" fmla="*/ 1151 h 1650"/>
                  <a:gd name="T48" fmla="*/ 270 w 1824"/>
                  <a:gd name="T49" fmla="*/ 1357 h 1650"/>
                  <a:gd name="T50" fmla="*/ 142 w 1824"/>
                  <a:gd name="T51" fmla="*/ 1569 h 1650"/>
                  <a:gd name="T52" fmla="*/ 182 w 1824"/>
                  <a:gd name="T53" fmla="*/ 1650 h 1650"/>
                  <a:gd name="T54" fmla="*/ 1808 w 1824"/>
                  <a:gd name="T55" fmla="*/ 1217 h 1650"/>
                  <a:gd name="T56" fmla="*/ 1803 w 1824"/>
                  <a:gd name="T57" fmla="*/ 718 h 1650"/>
                  <a:gd name="T58" fmla="*/ 955 w 1824"/>
                  <a:gd name="T59" fmla="*/ 342 h 1650"/>
                  <a:gd name="T60" fmla="*/ 1123 w 1824"/>
                  <a:gd name="T61" fmla="*/ 79 h 1650"/>
                  <a:gd name="T62" fmla="*/ 1708 w 1824"/>
                  <a:gd name="T63" fmla="*/ 300 h 1650"/>
                  <a:gd name="T64" fmla="*/ 863 w 1824"/>
                  <a:gd name="T65" fmla="*/ 317 h 1650"/>
                  <a:gd name="T66" fmla="*/ 190 w 1824"/>
                  <a:gd name="T67" fmla="*/ 1574 h 1650"/>
                  <a:gd name="T68" fmla="*/ 63 w 1824"/>
                  <a:gd name="T69" fmla="*/ 1106 h 1650"/>
                  <a:gd name="T70" fmla="*/ 48 w 1824"/>
                  <a:gd name="T71" fmla="*/ 1072 h 1650"/>
                  <a:gd name="T72" fmla="*/ 1744 w 1824"/>
                  <a:gd name="T73" fmla="*/ 392 h 1650"/>
                  <a:gd name="T74" fmla="*/ 1759 w 1824"/>
                  <a:gd name="T75" fmla="*/ 736 h 1650"/>
                  <a:gd name="T76" fmla="*/ 197 w 1824"/>
                  <a:gd name="T77" fmla="*/ 1601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824" h="1650">
                    <a:moveTo>
                      <a:pt x="1803" y="718"/>
                    </a:moveTo>
                    <a:cubicBezTo>
                      <a:pt x="1802" y="709"/>
                      <a:pt x="1795" y="700"/>
                      <a:pt x="1786" y="698"/>
                    </a:cubicBezTo>
                    <a:cubicBezTo>
                      <a:pt x="1722" y="683"/>
                      <a:pt x="1678" y="626"/>
                      <a:pt x="1678" y="561"/>
                    </a:cubicBezTo>
                    <a:cubicBezTo>
                      <a:pt x="1678" y="501"/>
                      <a:pt x="1717" y="447"/>
                      <a:pt x="1774" y="427"/>
                    </a:cubicBezTo>
                    <a:cubicBezTo>
                      <a:pt x="1783" y="424"/>
                      <a:pt x="1789" y="415"/>
                      <a:pt x="1789" y="406"/>
                    </a:cubicBezTo>
                    <a:cubicBezTo>
                      <a:pt x="1784" y="299"/>
                      <a:pt x="1784" y="299"/>
                      <a:pt x="1784" y="299"/>
                    </a:cubicBezTo>
                    <a:cubicBezTo>
                      <a:pt x="1784" y="299"/>
                      <a:pt x="1784" y="298"/>
                      <a:pt x="1784" y="298"/>
                    </a:cubicBezTo>
                    <a:cubicBezTo>
                      <a:pt x="1784" y="297"/>
                      <a:pt x="1784" y="297"/>
                      <a:pt x="1784" y="297"/>
                    </a:cubicBezTo>
                    <a:cubicBezTo>
                      <a:pt x="1784" y="296"/>
                      <a:pt x="1783" y="295"/>
                      <a:pt x="1783" y="294"/>
                    </a:cubicBezTo>
                    <a:cubicBezTo>
                      <a:pt x="1783" y="294"/>
                      <a:pt x="1783" y="294"/>
                      <a:pt x="1783" y="294"/>
                    </a:cubicBezTo>
                    <a:cubicBezTo>
                      <a:pt x="1783" y="293"/>
                      <a:pt x="1782" y="292"/>
                      <a:pt x="1782" y="291"/>
                    </a:cubicBezTo>
                    <a:cubicBezTo>
                      <a:pt x="1782" y="291"/>
                      <a:pt x="1782" y="291"/>
                      <a:pt x="1782" y="290"/>
                    </a:cubicBezTo>
                    <a:cubicBezTo>
                      <a:pt x="1781" y="290"/>
                      <a:pt x="1781" y="289"/>
                      <a:pt x="1781" y="288"/>
                    </a:cubicBezTo>
                    <a:cubicBezTo>
                      <a:pt x="1781" y="288"/>
                      <a:pt x="1780" y="288"/>
                      <a:pt x="1780" y="288"/>
                    </a:cubicBezTo>
                    <a:cubicBezTo>
                      <a:pt x="1780" y="287"/>
                      <a:pt x="1779" y="287"/>
                      <a:pt x="1779" y="286"/>
                    </a:cubicBezTo>
                    <a:cubicBezTo>
                      <a:pt x="1779" y="286"/>
                      <a:pt x="1779" y="286"/>
                      <a:pt x="1778" y="285"/>
                    </a:cubicBezTo>
                    <a:cubicBezTo>
                      <a:pt x="1778" y="285"/>
                      <a:pt x="1777" y="284"/>
                      <a:pt x="1777" y="284"/>
                    </a:cubicBezTo>
                    <a:cubicBezTo>
                      <a:pt x="1777" y="284"/>
                      <a:pt x="1776" y="283"/>
                      <a:pt x="1776" y="283"/>
                    </a:cubicBezTo>
                    <a:cubicBezTo>
                      <a:pt x="1776" y="283"/>
                      <a:pt x="1775" y="282"/>
                      <a:pt x="1774" y="282"/>
                    </a:cubicBezTo>
                    <a:cubicBezTo>
                      <a:pt x="1774" y="282"/>
                      <a:pt x="1774" y="282"/>
                      <a:pt x="1774" y="281"/>
                    </a:cubicBezTo>
                    <a:cubicBezTo>
                      <a:pt x="1774" y="281"/>
                      <a:pt x="1774" y="281"/>
                      <a:pt x="1774" y="281"/>
                    </a:cubicBezTo>
                    <a:cubicBezTo>
                      <a:pt x="1773" y="281"/>
                      <a:pt x="1772" y="280"/>
                      <a:pt x="1771" y="280"/>
                    </a:cubicBezTo>
                    <a:cubicBezTo>
                      <a:pt x="1771" y="280"/>
                      <a:pt x="1771" y="280"/>
                      <a:pt x="1771" y="280"/>
                    </a:cubicBezTo>
                    <a:cubicBezTo>
                      <a:pt x="1159" y="4"/>
                      <a:pt x="1159" y="4"/>
                      <a:pt x="1159" y="4"/>
                    </a:cubicBezTo>
                    <a:cubicBezTo>
                      <a:pt x="1151" y="0"/>
                      <a:pt x="1142" y="2"/>
                      <a:pt x="1135" y="8"/>
                    </a:cubicBezTo>
                    <a:cubicBezTo>
                      <a:pt x="1080" y="58"/>
                      <a:pt x="1080" y="58"/>
                      <a:pt x="1080" y="58"/>
                    </a:cubicBezTo>
                    <a:cubicBezTo>
                      <a:pt x="1073" y="65"/>
                      <a:pt x="1071" y="76"/>
                      <a:pt x="1076" y="85"/>
                    </a:cubicBezTo>
                    <a:cubicBezTo>
                      <a:pt x="1089" y="107"/>
                      <a:pt x="1096" y="132"/>
                      <a:pt x="1096" y="157"/>
                    </a:cubicBezTo>
                    <a:cubicBezTo>
                      <a:pt x="1096" y="235"/>
                      <a:pt x="1033" y="298"/>
                      <a:pt x="955" y="298"/>
                    </a:cubicBezTo>
                    <a:cubicBezTo>
                      <a:pt x="926" y="298"/>
                      <a:pt x="897" y="289"/>
                      <a:pt x="873" y="272"/>
                    </a:cubicBezTo>
                    <a:cubicBezTo>
                      <a:pt x="865" y="266"/>
                      <a:pt x="853" y="267"/>
                      <a:pt x="846" y="274"/>
                    </a:cubicBezTo>
                    <a:cubicBezTo>
                      <a:pt x="7" y="1044"/>
                      <a:pt x="7" y="1044"/>
                      <a:pt x="7" y="1044"/>
                    </a:cubicBezTo>
                    <a:cubicBezTo>
                      <a:pt x="7" y="1044"/>
                      <a:pt x="7" y="1044"/>
                      <a:pt x="7" y="1044"/>
                    </a:cubicBezTo>
                    <a:cubicBezTo>
                      <a:pt x="6" y="1045"/>
                      <a:pt x="6" y="1045"/>
                      <a:pt x="5" y="1046"/>
                    </a:cubicBezTo>
                    <a:cubicBezTo>
                      <a:pt x="5" y="1046"/>
                      <a:pt x="5" y="1047"/>
                      <a:pt x="4" y="1047"/>
                    </a:cubicBezTo>
                    <a:cubicBezTo>
                      <a:pt x="4" y="1048"/>
                      <a:pt x="4" y="1048"/>
                      <a:pt x="3" y="1049"/>
                    </a:cubicBezTo>
                    <a:cubicBezTo>
                      <a:pt x="3" y="1049"/>
                      <a:pt x="3" y="1050"/>
                      <a:pt x="2" y="1050"/>
                    </a:cubicBezTo>
                    <a:cubicBezTo>
                      <a:pt x="2" y="1051"/>
                      <a:pt x="2" y="1051"/>
                      <a:pt x="2" y="1052"/>
                    </a:cubicBezTo>
                    <a:cubicBezTo>
                      <a:pt x="1" y="1053"/>
                      <a:pt x="1" y="1053"/>
                      <a:pt x="1" y="1054"/>
                    </a:cubicBezTo>
                    <a:cubicBezTo>
                      <a:pt x="1" y="1054"/>
                      <a:pt x="1" y="1055"/>
                      <a:pt x="1" y="1056"/>
                    </a:cubicBezTo>
                    <a:cubicBezTo>
                      <a:pt x="0" y="1056"/>
                      <a:pt x="0" y="1057"/>
                      <a:pt x="0" y="1058"/>
                    </a:cubicBezTo>
                    <a:cubicBezTo>
                      <a:pt x="0" y="1058"/>
                      <a:pt x="0" y="1059"/>
                      <a:pt x="0" y="1059"/>
                    </a:cubicBezTo>
                    <a:cubicBezTo>
                      <a:pt x="0" y="1060"/>
                      <a:pt x="0" y="1061"/>
                      <a:pt x="0" y="1062"/>
                    </a:cubicBezTo>
                    <a:cubicBezTo>
                      <a:pt x="0" y="1062"/>
                      <a:pt x="0" y="1063"/>
                      <a:pt x="0" y="1063"/>
                    </a:cubicBezTo>
                    <a:cubicBezTo>
                      <a:pt x="0" y="1064"/>
                      <a:pt x="1" y="1065"/>
                      <a:pt x="1" y="1065"/>
                    </a:cubicBezTo>
                    <a:cubicBezTo>
                      <a:pt x="1" y="1066"/>
                      <a:pt x="1" y="1066"/>
                      <a:pt x="1" y="1066"/>
                    </a:cubicBezTo>
                    <a:cubicBezTo>
                      <a:pt x="20" y="1135"/>
                      <a:pt x="20" y="1135"/>
                      <a:pt x="20" y="1135"/>
                    </a:cubicBezTo>
                    <a:cubicBezTo>
                      <a:pt x="23" y="1145"/>
                      <a:pt x="33" y="1152"/>
                      <a:pt x="43" y="1151"/>
                    </a:cubicBezTo>
                    <a:cubicBezTo>
                      <a:pt x="50" y="1150"/>
                      <a:pt x="57" y="1150"/>
                      <a:pt x="63" y="1150"/>
                    </a:cubicBezTo>
                    <a:cubicBezTo>
                      <a:pt x="177" y="1150"/>
                      <a:pt x="270" y="1243"/>
                      <a:pt x="270" y="1357"/>
                    </a:cubicBezTo>
                    <a:cubicBezTo>
                      <a:pt x="270" y="1437"/>
                      <a:pt x="226" y="1508"/>
                      <a:pt x="154" y="1543"/>
                    </a:cubicBezTo>
                    <a:cubicBezTo>
                      <a:pt x="144" y="1548"/>
                      <a:pt x="140" y="1558"/>
                      <a:pt x="142" y="1569"/>
                    </a:cubicBezTo>
                    <a:cubicBezTo>
                      <a:pt x="161" y="1634"/>
                      <a:pt x="161" y="1634"/>
                      <a:pt x="161" y="1634"/>
                    </a:cubicBezTo>
                    <a:cubicBezTo>
                      <a:pt x="164" y="1644"/>
                      <a:pt x="172" y="1650"/>
                      <a:pt x="182" y="1650"/>
                    </a:cubicBezTo>
                    <a:cubicBezTo>
                      <a:pt x="184" y="1650"/>
                      <a:pt x="186" y="1650"/>
                      <a:pt x="188" y="1649"/>
                    </a:cubicBezTo>
                    <a:cubicBezTo>
                      <a:pt x="1808" y="1217"/>
                      <a:pt x="1808" y="1217"/>
                      <a:pt x="1808" y="1217"/>
                    </a:cubicBezTo>
                    <a:cubicBezTo>
                      <a:pt x="1818" y="1215"/>
                      <a:pt x="1824" y="1205"/>
                      <a:pt x="1824" y="1195"/>
                    </a:cubicBezTo>
                    <a:lnTo>
                      <a:pt x="1803" y="718"/>
                    </a:lnTo>
                    <a:close/>
                    <a:moveTo>
                      <a:pt x="863" y="317"/>
                    </a:moveTo>
                    <a:cubicBezTo>
                      <a:pt x="891" y="334"/>
                      <a:pt x="922" y="342"/>
                      <a:pt x="955" y="342"/>
                    </a:cubicBezTo>
                    <a:cubicBezTo>
                      <a:pt x="1057" y="342"/>
                      <a:pt x="1140" y="259"/>
                      <a:pt x="1140" y="157"/>
                    </a:cubicBezTo>
                    <a:cubicBezTo>
                      <a:pt x="1140" y="130"/>
                      <a:pt x="1134" y="103"/>
                      <a:pt x="1123" y="79"/>
                    </a:cubicBezTo>
                    <a:cubicBezTo>
                      <a:pt x="1154" y="50"/>
                      <a:pt x="1154" y="50"/>
                      <a:pt x="1154" y="50"/>
                    </a:cubicBezTo>
                    <a:cubicBezTo>
                      <a:pt x="1708" y="300"/>
                      <a:pt x="1708" y="300"/>
                      <a:pt x="1708" y="300"/>
                    </a:cubicBezTo>
                    <a:cubicBezTo>
                      <a:pt x="134" y="987"/>
                      <a:pt x="134" y="987"/>
                      <a:pt x="134" y="987"/>
                    </a:cubicBezTo>
                    <a:lnTo>
                      <a:pt x="863" y="317"/>
                    </a:lnTo>
                    <a:close/>
                    <a:moveTo>
                      <a:pt x="197" y="1601"/>
                    </a:moveTo>
                    <a:cubicBezTo>
                      <a:pt x="190" y="1574"/>
                      <a:pt x="190" y="1574"/>
                      <a:pt x="190" y="1574"/>
                    </a:cubicBezTo>
                    <a:cubicBezTo>
                      <a:pt x="267" y="1529"/>
                      <a:pt x="314" y="1447"/>
                      <a:pt x="314" y="1357"/>
                    </a:cubicBezTo>
                    <a:cubicBezTo>
                      <a:pt x="314" y="1219"/>
                      <a:pt x="201" y="1106"/>
                      <a:pt x="63" y="1106"/>
                    </a:cubicBezTo>
                    <a:cubicBezTo>
                      <a:pt x="61" y="1106"/>
                      <a:pt x="60" y="1106"/>
                      <a:pt x="58" y="1106"/>
                    </a:cubicBezTo>
                    <a:cubicBezTo>
                      <a:pt x="48" y="1072"/>
                      <a:pt x="48" y="1072"/>
                      <a:pt x="48" y="1072"/>
                    </a:cubicBezTo>
                    <a:cubicBezTo>
                      <a:pt x="1741" y="333"/>
                      <a:pt x="1741" y="333"/>
                      <a:pt x="1741" y="333"/>
                    </a:cubicBezTo>
                    <a:cubicBezTo>
                      <a:pt x="1744" y="392"/>
                      <a:pt x="1744" y="392"/>
                      <a:pt x="1744" y="392"/>
                    </a:cubicBezTo>
                    <a:cubicBezTo>
                      <a:pt x="1678" y="421"/>
                      <a:pt x="1634" y="487"/>
                      <a:pt x="1634" y="561"/>
                    </a:cubicBezTo>
                    <a:cubicBezTo>
                      <a:pt x="1634" y="641"/>
                      <a:pt x="1685" y="711"/>
                      <a:pt x="1759" y="736"/>
                    </a:cubicBezTo>
                    <a:cubicBezTo>
                      <a:pt x="1779" y="1179"/>
                      <a:pt x="1779" y="1179"/>
                      <a:pt x="1779" y="1179"/>
                    </a:cubicBezTo>
                    <a:lnTo>
                      <a:pt x="197" y="1601"/>
                    </a:lnTo>
                    <a:close/>
                  </a:path>
                </a:pathLst>
              </a:custGeom>
              <a:solidFill>
                <a:srgbClr val="294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0EE26A51-C8F9-17CC-5E5A-CDE0857B8215}"/>
              </a:ext>
            </a:extLst>
          </p:cNvPr>
          <p:cNvSpPr/>
          <p:nvPr/>
        </p:nvSpPr>
        <p:spPr>
          <a:xfrm>
            <a:off x="71718" y="4528408"/>
            <a:ext cx="11976847" cy="1630787"/>
          </a:xfrm>
          <a:prstGeom prst="rect">
            <a:avLst/>
          </a:prstGeom>
          <a:solidFill>
            <a:srgbClr val="FFFFFF">
              <a:lumMod val="85000"/>
              <a:alpha val="50015"/>
            </a:srgbClr>
          </a:solidFill>
          <a:ln w="10795" cap="flat" cmpd="sng" algn="ctr">
            <a:solidFill>
              <a:srgbClr val="294955">
                <a:shade val="15000"/>
              </a:srgbClr>
            </a:solidFill>
            <a:prstDash val="dash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230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410">
            <a:extLst>
              <a:ext uri="{FF2B5EF4-FFF2-40B4-BE49-F238E27FC236}">
                <a16:creationId xmlns:a16="http://schemas.microsoft.com/office/drawing/2014/main" id="{15991855-C69F-0758-4EC0-7470967F0F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0" y="0"/>
            <a:ext cx="12192000" cy="636549"/>
          </a:xfrm>
          <a:prstGeom prst="rect">
            <a:avLst/>
          </a:prstGeom>
        </p:spPr>
      </p:pic>
      <p:sp>
        <p:nvSpPr>
          <p:cNvPr id="3" name="Text 0">
            <a:extLst>
              <a:ext uri="{FF2B5EF4-FFF2-40B4-BE49-F238E27FC236}">
                <a16:creationId xmlns:a16="http://schemas.microsoft.com/office/drawing/2014/main" id="{90A98A80-8F3F-A58A-EC7B-22AA2388646B}"/>
              </a:ext>
            </a:extLst>
          </p:cNvPr>
          <p:cNvSpPr/>
          <p:nvPr/>
        </p:nvSpPr>
        <p:spPr>
          <a:xfrm>
            <a:off x="435685" y="83484"/>
            <a:ext cx="2971919" cy="37147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2900"/>
              </a:lnSpc>
              <a:buNone/>
            </a:pPr>
            <a:r>
              <a:rPr lang="en-US" sz="1600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3</a:t>
            </a:r>
            <a:r>
              <a:rPr lang="en-US" sz="2000" b="1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. Gender Inclusion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060DA6FE-0365-D955-37D4-063D3A031837}"/>
              </a:ext>
            </a:extLst>
          </p:cNvPr>
          <p:cNvSpPr/>
          <p:nvPr/>
        </p:nvSpPr>
        <p:spPr>
          <a:xfrm>
            <a:off x="136321" y="690486"/>
            <a:ext cx="10034552" cy="383384"/>
          </a:xfrm>
          <a:prstGeom prst="rect">
            <a:avLst/>
          </a:prstGeom>
          <a:solidFill>
            <a:schemeClr val="bg2"/>
          </a:solidFill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450"/>
              </a:lnSpc>
              <a:buNone/>
            </a:pPr>
            <a:endParaRPr lang="en-US" sz="1600" i="1" dirty="0">
              <a:solidFill>
                <a:srgbClr val="52586B"/>
              </a:solidFill>
              <a:latin typeface="Arial" panose="020B0604020202020204" pitchFamily="34" charset="0"/>
              <a:ea typeface="Funnel Sans" pitchFamily="34" charset="-122"/>
              <a:cs typeface="Arial" panose="020B0604020202020204" pitchFamily="34" charset="0"/>
            </a:endParaRPr>
          </a:p>
          <a:p>
            <a:pPr marL="0" indent="0" algn="l">
              <a:lnSpc>
                <a:spcPts val="1450"/>
              </a:lnSpc>
              <a:buNone/>
            </a:pPr>
            <a:r>
              <a:rPr lang="en-US" sz="1600" i="1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From Section G (gender decision-making), plus gender-disaggregation in all outcome variables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2">
            <a:extLst>
              <a:ext uri="{FF2B5EF4-FFF2-40B4-BE49-F238E27FC236}">
                <a16:creationId xmlns:a16="http://schemas.microsoft.com/office/drawing/2014/main" id="{B9EA5801-660E-B756-C60D-52CD1D975D34}"/>
              </a:ext>
            </a:extLst>
          </p:cNvPr>
          <p:cNvSpPr/>
          <p:nvPr/>
        </p:nvSpPr>
        <p:spPr>
          <a:xfrm>
            <a:off x="202602" y="1692128"/>
            <a:ext cx="1462207" cy="29718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230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65%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0" descr="preencoded.png">
            <a:extLst>
              <a:ext uri="{FF2B5EF4-FFF2-40B4-BE49-F238E27FC236}">
                <a16:creationId xmlns:a16="http://schemas.microsoft.com/office/drawing/2014/main" id="{7648A05D-9ECB-C85A-65A6-675B153964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602" y="1486397"/>
            <a:ext cx="1556553" cy="1391274"/>
          </a:xfrm>
          <a:prstGeom prst="rect">
            <a:avLst/>
          </a:prstGeom>
        </p:spPr>
      </p:pic>
      <p:sp>
        <p:nvSpPr>
          <p:cNvPr id="7" name="Text 3">
            <a:extLst>
              <a:ext uri="{FF2B5EF4-FFF2-40B4-BE49-F238E27FC236}">
                <a16:creationId xmlns:a16="http://schemas.microsoft.com/office/drawing/2014/main" id="{3D90E022-41EF-9BFA-373C-176F9C890344}"/>
              </a:ext>
            </a:extLst>
          </p:cNvPr>
          <p:cNvSpPr/>
          <p:nvPr/>
        </p:nvSpPr>
        <p:spPr>
          <a:xfrm>
            <a:off x="237928" y="1299114"/>
            <a:ext cx="1485900" cy="1857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b="1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ecision-Making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4">
            <a:extLst>
              <a:ext uri="{FF2B5EF4-FFF2-40B4-BE49-F238E27FC236}">
                <a16:creationId xmlns:a16="http://schemas.microsoft.com/office/drawing/2014/main" id="{F87F475E-7B39-EB6A-5BF3-840906F53757}"/>
              </a:ext>
            </a:extLst>
          </p:cNvPr>
          <p:cNvSpPr/>
          <p:nvPr/>
        </p:nvSpPr>
        <p:spPr>
          <a:xfrm>
            <a:off x="-621602" y="3185018"/>
            <a:ext cx="4163209" cy="12944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Women deciding livestock sales, </a:t>
            </a:r>
          </a:p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attending training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5">
            <a:extLst>
              <a:ext uri="{FF2B5EF4-FFF2-40B4-BE49-F238E27FC236}">
                <a16:creationId xmlns:a16="http://schemas.microsoft.com/office/drawing/2014/main" id="{9B7B737F-1C47-B0DE-2CB0-2B981DF278BD}"/>
              </a:ext>
            </a:extLst>
          </p:cNvPr>
          <p:cNvSpPr/>
          <p:nvPr/>
        </p:nvSpPr>
        <p:spPr>
          <a:xfrm>
            <a:off x="7781692" y="2097490"/>
            <a:ext cx="1462207" cy="29718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230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42%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 1" descr="preencoded.png">
            <a:extLst>
              <a:ext uri="{FF2B5EF4-FFF2-40B4-BE49-F238E27FC236}">
                <a16:creationId xmlns:a16="http://schemas.microsoft.com/office/drawing/2014/main" id="{7FCDF803-B923-9712-B969-C718CE6BF6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1197" y="1507161"/>
            <a:ext cx="1783199" cy="1633547"/>
          </a:xfrm>
          <a:prstGeom prst="rect">
            <a:avLst/>
          </a:prstGeom>
        </p:spPr>
      </p:pic>
      <p:sp>
        <p:nvSpPr>
          <p:cNvPr id="11" name="Text 6">
            <a:extLst>
              <a:ext uri="{FF2B5EF4-FFF2-40B4-BE49-F238E27FC236}">
                <a16:creationId xmlns:a16="http://schemas.microsoft.com/office/drawing/2014/main" id="{F80D0CB1-32AB-A3F4-D9AE-2BB91F4CE262}"/>
              </a:ext>
            </a:extLst>
          </p:cNvPr>
          <p:cNvSpPr/>
          <p:nvPr/>
        </p:nvSpPr>
        <p:spPr>
          <a:xfrm>
            <a:off x="7777310" y="1204458"/>
            <a:ext cx="1485900" cy="1857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Access to Resource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7">
            <a:extLst>
              <a:ext uri="{FF2B5EF4-FFF2-40B4-BE49-F238E27FC236}">
                <a16:creationId xmlns:a16="http://schemas.microsoft.com/office/drawing/2014/main" id="{1D13569C-3163-9F59-41AC-2F61FD083350}"/>
              </a:ext>
            </a:extLst>
          </p:cNvPr>
          <p:cNvSpPr/>
          <p:nvPr/>
        </p:nvSpPr>
        <p:spPr>
          <a:xfrm>
            <a:off x="7365313" y="3317304"/>
            <a:ext cx="2294964" cy="3076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Women with access to </a:t>
            </a:r>
          </a:p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credit/saving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8">
            <a:extLst>
              <a:ext uri="{FF2B5EF4-FFF2-40B4-BE49-F238E27FC236}">
                <a16:creationId xmlns:a16="http://schemas.microsoft.com/office/drawing/2014/main" id="{7304A83A-1EDD-FDED-A27C-8C1B4E2FA739}"/>
              </a:ext>
            </a:extLst>
          </p:cNvPr>
          <p:cNvSpPr/>
          <p:nvPr/>
        </p:nvSpPr>
        <p:spPr>
          <a:xfrm>
            <a:off x="10322971" y="2246080"/>
            <a:ext cx="1462207" cy="29718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230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38%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 2" descr="preencoded.png">
            <a:extLst>
              <a:ext uri="{FF2B5EF4-FFF2-40B4-BE49-F238E27FC236}">
                <a16:creationId xmlns:a16="http://schemas.microsoft.com/office/drawing/2014/main" id="{EF25C681-6EC6-B867-7FEE-70672F4A3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70873" y="1457277"/>
            <a:ext cx="1783199" cy="1783199"/>
          </a:xfrm>
          <a:prstGeom prst="rect">
            <a:avLst/>
          </a:prstGeom>
        </p:spPr>
      </p:pic>
      <p:sp>
        <p:nvSpPr>
          <p:cNvPr id="15" name="Text 9">
            <a:extLst>
              <a:ext uri="{FF2B5EF4-FFF2-40B4-BE49-F238E27FC236}">
                <a16:creationId xmlns:a16="http://schemas.microsoft.com/office/drawing/2014/main" id="{26211EC4-E5AC-4A35-D88E-551DCBDE1849}"/>
              </a:ext>
            </a:extLst>
          </p:cNvPr>
          <p:cNvSpPr/>
          <p:nvPr/>
        </p:nvSpPr>
        <p:spPr>
          <a:xfrm>
            <a:off x="10173438" y="1170627"/>
            <a:ext cx="1485900" cy="1857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Income Control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0">
            <a:extLst>
              <a:ext uri="{FF2B5EF4-FFF2-40B4-BE49-F238E27FC236}">
                <a16:creationId xmlns:a16="http://schemas.microsoft.com/office/drawing/2014/main" id="{040C814E-B262-FCA7-860F-B20BD4A4C82D}"/>
              </a:ext>
            </a:extLst>
          </p:cNvPr>
          <p:cNvSpPr/>
          <p:nvPr/>
        </p:nvSpPr>
        <p:spPr>
          <a:xfrm>
            <a:off x="8815107" y="3317304"/>
            <a:ext cx="4163209" cy="148417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Women controlling share </a:t>
            </a:r>
          </a:p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of livestock incom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11">
            <a:extLst>
              <a:ext uri="{FF2B5EF4-FFF2-40B4-BE49-F238E27FC236}">
                <a16:creationId xmlns:a16="http://schemas.microsoft.com/office/drawing/2014/main" id="{468EA04B-06E4-520A-B9D5-A7764EC0ED19}"/>
              </a:ext>
            </a:extLst>
          </p:cNvPr>
          <p:cNvSpPr/>
          <p:nvPr/>
        </p:nvSpPr>
        <p:spPr>
          <a:xfrm>
            <a:off x="4183410" y="2372760"/>
            <a:ext cx="1462207" cy="29718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230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28%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Image 3" descr="preencoded.png">
            <a:extLst>
              <a:ext uri="{FF2B5EF4-FFF2-40B4-BE49-F238E27FC236}">
                <a16:creationId xmlns:a16="http://schemas.microsoft.com/office/drawing/2014/main" id="{DDE3F002-2766-6FA4-19CB-9BB0C4A596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6236" y="1614645"/>
            <a:ext cx="1556553" cy="1483893"/>
          </a:xfrm>
          <a:prstGeom prst="rect">
            <a:avLst/>
          </a:prstGeom>
        </p:spPr>
      </p:pic>
      <p:sp>
        <p:nvSpPr>
          <p:cNvPr id="19" name="Text 12">
            <a:extLst>
              <a:ext uri="{FF2B5EF4-FFF2-40B4-BE49-F238E27FC236}">
                <a16:creationId xmlns:a16="http://schemas.microsoft.com/office/drawing/2014/main" id="{A9F50FC8-9854-1492-3528-A932D07246A6}"/>
              </a:ext>
            </a:extLst>
          </p:cNvPr>
          <p:cNvSpPr/>
          <p:nvPr/>
        </p:nvSpPr>
        <p:spPr>
          <a:xfrm>
            <a:off x="3947226" y="1276365"/>
            <a:ext cx="1485900" cy="1857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b="1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KPMD Participation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13">
            <a:extLst>
              <a:ext uri="{FF2B5EF4-FFF2-40B4-BE49-F238E27FC236}">
                <a16:creationId xmlns:a16="http://schemas.microsoft.com/office/drawing/2014/main" id="{8D49479C-8DC4-1643-86D8-6769C5D4D427}"/>
              </a:ext>
            </a:extLst>
          </p:cNvPr>
          <p:cNvSpPr/>
          <p:nvPr/>
        </p:nvSpPr>
        <p:spPr>
          <a:xfrm>
            <a:off x="4114800" y="3320728"/>
            <a:ext cx="2104128" cy="1857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ctr">
              <a:lnSpc>
                <a:spcPts val="1450"/>
              </a:lnSpc>
              <a:buNone/>
            </a:pP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Female-headed HHs engaged in KPMD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17">
            <a:extLst>
              <a:ext uri="{FF2B5EF4-FFF2-40B4-BE49-F238E27FC236}">
                <a16:creationId xmlns:a16="http://schemas.microsoft.com/office/drawing/2014/main" id="{9A770ACB-91C6-F6FE-374C-868F1D415A9A}"/>
              </a:ext>
            </a:extLst>
          </p:cNvPr>
          <p:cNvSpPr/>
          <p:nvPr/>
        </p:nvSpPr>
        <p:spPr>
          <a:xfrm>
            <a:off x="202602" y="5027578"/>
            <a:ext cx="3912198" cy="183301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171450" indent="-171450" algn="l">
              <a:lnSpc>
                <a:spcPts val="1450"/>
              </a:lnSpc>
              <a:buSzPct val="100000"/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87E88A5-136F-19D1-38B9-44E5345F3234}"/>
              </a:ext>
            </a:extLst>
          </p:cNvPr>
          <p:cNvSpPr/>
          <p:nvPr/>
        </p:nvSpPr>
        <p:spPr>
          <a:xfrm>
            <a:off x="395" y="4551600"/>
            <a:ext cx="12055680" cy="1873791"/>
          </a:xfrm>
          <a:prstGeom prst="rect">
            <a:avLst/>
          </a:prstGeom>
          <a:solidFill>
            <a:srgbClr val="FFFFFF">
              <a:lumMod val="85000"/>
              <a:alpha val="50015"/>
            </a:srgbClr>
          </a:solidFill>
          <a:ln w="10795" cap="flat" cmpd="sng" algn="ctr">
            <a:solidFill>
              <a:srgbClr val="294955">
                <a:shade val="15000"/>
              </a:srgbClr>
            </a:solidFill>
            <a:prstDash val="dash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3B48"/>
                </a:solidFill>
                <a:effectLst/>
                <a:uLnTx/>
                <a:uFillTx/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ashboard Visual Components</a:t>
            </a:r>
          </a:p>
          <a:p>
            <a:pPr marL="0" marR="0" lvl="0" indent="0" algn="l" defTabSz="914400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45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2586B"/>
                </a:solidFill>
                <a:effectLst/>
                <a:uLnTx/>
                <a:uFillTx/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Side-by-side male vs female disaggregation across all metrics</a:t>
            </a:r>
          </a:p>
          <a:p>
            <a:pPr marL="171450" marR="0" lvl="0" indent="-171450" algn="l" defTabSz="914400" rtl="0" eaLnBrk="1" fontAlgn="auto" latinLnBrk="0" hangingPunct="1">
              <a:lnSpc>
                <a:spcPts val="145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ts val="1450"/>
              </a:lnSpc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2586B"/>
                </a:solidFill>
                <a:effectLst/>
                <a:uLnTx/>
                <a:uFillTx/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Gender gap index panels (decision power, credit, income control) </a:t>
            </a:r>
            <a:r>
              <a:rPr lang="en-US" sz="16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Heatmap of gendered participation by count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45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27E3EA0-49DC-A795-7D7E-8B44B72835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03891" y="1127959"/>
            <a:ext cx="484065" cy="484115"/>
            <a:chOff x="1680" y="0"/>
            <a:chExt cx="4320" cy="4320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C9CD4F59-5BAD-DDE4-EBE3-6DA26768D0B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0" y="0"/>
              <a:ext cx="432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2D518EB2-23AC-B05C-5902-C531DF1663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5" y="431"/>
              <a:ext cx="2589" cy="3455"/>
            </a:xfrm>
            <a:custGeom>
              <a:avLst/>
              <a:gdLst>
                <a:gd name="T0" fmla="*/ 1173 w 1383"/>
                <a:gd name="T1" fmla="*/ 503 h 1845"/>
                <a:gd name="T2" fmla="*/ 957 w 1383"/>
                <a:gd name="T3" fmla="*/ 716 h 1845"/>
                <a:gd name="T4" fmla="*/ 998 w 1383"/>
                <a:gd name="T5" fmla="*/ 757 h 1845"/>
                <a:gd name="T6" fmla="*/ 1037 w 1383"/>
                <a:gd name="T7" fmla="*/ 716 h 1845"/>
                <a:gd name="T8" fmla="*/ 1173 w 1383"/>
                <a:gd name="T9" fmla="*/ 583 h 1845"/>
                <a:gd name="T10" fmla="*/ 1303 w 1383"/>
                <a:gd name="T11" fmla="*/ 719 h 1845"/>
                <a:gd name="T12" fmla="*/ 1303 w 1383"/>
                <a:gd name="T13" fmla="*/ 1823 h 1845"/>
                <a:gd name="T14" fmla="*/ 1325 w 1383"/>
                <a:gd name="T15" fmla="*/ 1845 h 1845"/>
                <a:gd name="T16" fmla="*/ 1361 w 1383"/>
                <a:gd name="T17" fmla="*/ 1845 h 1845"/>
                <a:gd name="T18" fmla="*/ 1383 w 1383"/>
                <a:gd name="T19" fmla="*/ 1823 h 1845"/>
                <a:gd name="T20" fmla="*/ 1383 w 1383"/>
                <a:gd name="T21" fmla="*/ 720 h 1845"/>
                <a:gd name="T22" fmla="*/ 1173 w 1383"/>
                <a:gd name="T23" fmla="*/ 503 h 1845"/>
                <a:gd name="T24" fmla="*/ 726 w 1383"/>
                <a:gd name="T25" fmla="*/ 683 h 1845"/>
                <a:gd name="T26" fmla="*/ 701 w 1383"/>
                <a:gd name="T27" fmla="*/ 741 h 1845"/>
                <a:gd name="T28" fmla="*/ 638 w 1383"/>
                <a:gd name="T29" fmla="*/ 865 h 1845"/>
                <a:gd name="T30" fmla="*/ 638 w 1383"/>
                <a:gd name="T31" fmla="*/ 931 h 1845"/>
                <a:gd name="T32" fmla="*/ 812 w 1383"/>
                <a:gd name="T33" fmla="*/ 868 h 1845"/>
                <a:gd name="T34" fmla="*/ 726 w 1383"/>
                <a:gd name="T35" fmla="*/ 683 h 1845"/>
                <a:gd name="T36" fmla="*/ 85 w 1383"/>
                <a:gd name="T37" fmla="*/ 681 h 1845"/>
                <a:gd name="T38" fmla="*/ 0 w 1383"/>
                <a:gd name="T39" fmla="*/ 868 h 1845"/>
                <a:gd name="T40" fmla="*/ 174 w 1383"/>
                <a:gd name="T41" fmla="*/ 931 h 1845"/>
                <a:gd name="T42" fmla="*/ 174 w 1383"/>
                <a:gd name="T43" fmla="*/ 865 h 1845"/>
                <a:gd name="T44" fmla="*/ 111 w 1383"/>
                <a:gd name="T45" fmla="*/ 741 h 1845"/>
                <a:gd name="T46" fmla="*/ 85 w 1383"/>
                <a:gd name="T47" fmla="*/ 681 h 1845"/>
                <a:gd name="T48" fmla="*/ 684 w 1383"/>
                <a:gd name="T49" fmla="*/ 541 h 1845"/>
                <a:gd name="T50" fmla="*/ 707 w 1383"/>
                <a:gd name="T51" fmla="*/ 541 h 1845"/>
                <a:gd name="T52" fmla="*/ 711 w 1383"/>
                <a:gd name="T53" fmla="*/ 539 h 1845"/>
                <a:gd name="T54" fmla="*/ 750 w 1383"/>
                <a:gd name="T55" fmla="*/ 484 h 1845"/>
                <a:gd name="T56" fmla="*/ 750 w 1383"/>
                <a:gd name="T57" fmla="*/ 485 h 1845"/>
                <a:gd name="T58" fmla="*/ 762 w 1383"/>
                <a:gd name="T59" fmla="*/ 362 h 1845"/>
                <a:gd name="T60" fmla="*/ 406 w 1383"/>
                <a:gd name="T61" fmla="*/ 0 h 1845"/>
                <a:gd name="T62" fmla="*/ 49 w 1383"/>
                <a:gd name="T63" fmla="*/ 362 h 1845"/>
                <a:gd name="T64" fmla="*/ 69 w 1383"/>
                <a:gd name="T65" fmla="*/ 510 h 1845"/>
                <a:gd name="T66" fmla="*/ 69 w 1383"/>
                <a:gd name="T67" fmla="*/ 510 h 1845"/>
                <a:gd name="T68" fmla="*/ 208 w 1383"/>
                <a:gd name="T69" fmla="*/ 291 h 1845"/>
                <a:gd name="T70" fmla="*/ 212 w 1383"/>
                <a:gd name="T71" fmla="*/ 292 h 1845"/>
                <a:gd name="T72" fmla="*/ 682 w 1383"/>
                <a:gd name="T73" fmla="*/ 540 h 1845"/>
                <a:gd name="T74" fmla="*/ 684 w 1383"/>
                <a:gd name="T75" fmla="*/ 541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83" h="1845">
                  <a:moveTo>
                    <a:pt x="1173" y="503"/>
                  </a:moveTo>
                  <a:cubicBezTo>
                    <a:pt x="1054" y="501"/>
                    <a:pt x="957" y="598"/>
                    <a:pt x="957" y="716"/>
                  </a:cubicBezTo>
                  <a:cubicBezTo>
                    <a:pt x="957" y="739"/>
                    <a:pt x="975" y="757"/>
                    <a:pt x="998" y="757"/>
                  </a:cubicBezTo>
                  <a:cubicBezTo>
                    <a:pt x="1020" y="756"/>
                    <a:pt x="1037" y="737"/>
                    <a:pt x="1037" y="716"/>
                  </a:cubicBezTo>
                  <a:cubicBezTo>
                    <a:pt x="1037" y="642"/>
                    <a:pt x="1098" y="582"/>
                    <a:pt x="1173" y="583"/>
                  </a:cubicBezTo>
                  <a:cubicBezTo>
                    <a:pt x="1244" y="585"/>
                    <a:pt x="1303" y="647"/>
                    <a:pt x="1303" y="719"/>
                  </a:cubicBezTo>
                  <a:cubicBezTo>
                    <a:pt x="1303" y="1823"/>
                    <a:pt x="1303" y="1823"/>
                    <a:pt x="1303" y="1823"/>
                  </a:cubicBezTo>
                  <a:cubicBezTo>
                    <a:pt x="1303" y="1835"/>
                    <a:pt x="1313" y="1845"/>
                    <a:pt x="1325" y="1845"/>
                  </a:cubicBezTo>
                  <a:cubicBezTo>
                    <a:pt x="1361" y="1845"/>
                    <a:pt x="1361" y="1845"/>
                    <a:pt x="1361" y="1845"/>
                  </a:cubicBezTo>
                  <a:cubicBezTo>
                    <a:pt x="1374" y="1845"/>
                    <a:pt x="1383" y="1835"/>
                    <a:pt x="1383" y="1823"/>
                  </a:cubicBezTo>
                  <a:cubicBezTo>
                    <a:pt x="1383" y="720"/>
                    <a:pt x="1383" y="720"/>
                    <a:pt x="1383" y="720"/>
                  </a:cubicBezTo>
                  <a:cubicBezTo>
                    <a:pt x="1383" y="603"/>
                    <a:pt x="1290" y="505"/>
                    <a:pt x="1173" y="503"/>
                  </a:cubicBezTo>
                  <a:close/>
                  <a:moveTo>
                    <a:pt x="726" y="683"/>
                  </a:moveTo>
                  <a:cubicBezTo>
                    <a:pt x="718" y="700"/>
                    <a:pt x="710" y="720"/>
                    <a:pt x="701" y="741"/>
                  </a:cubicBezTo>
                  <a:cubicBezTo>
                    <a:pt x="671" y="810"/>
                    <a:pt x="651" y="845"/>
                    <a:pt x="638" y="865"/>
                  </a:cubicBezTo>
                  <a:cubicBezTo>
                    <a:pt x="638" y="931"/>
                    <a:pt x="638" y="931"/>
                    <a:pt x="638" y="931"/>
                  </a:cubicBezTo>
                  <a:cubicBezTo>
                    <a:pt x="671" y="938"/>
                    <a:pt x="738" y="941"/>
                    <a:pt x="812" y="868"/>
                  </a:cubicBezTo>
                  <a:cubicBezTo>
                    <a:pt x="735" y="860"/>
                    <a:pt x="729" y="750"/>
                    <a:pt x="726" y="683"/>
                  </a:cubicBezTo>
                  <a:close/>
                  <a:moveTo>
                    <a:pt x="85" y="681"/>
                  </a:moveTo>
                  <a:cubicBezTo>
                    <a:pt x="82" y="749"/>
                    <a:pt x="77" y="860"/>
                    <a:pt x="0" y="868"/>
                  </a:cubicBezTo>
                  <a:cubicBezTo>
                    <a:pt x="73" y="941"/>
                    <a:pt x="140" y="938"/>
                    <a:pt x="174" y="931"/>
                  </a:cubicBezTo>
                  <a:cubicBezTo>
                    <a:pt x="174" y="865"/>
                    <a:pt x="174" y="865"/>
                    <a:pt x="174" y="865"/>
                  </a:cubicBezTo>
                  <a:cubicBezTo>
                    <a:pt x="161" y="845"/>
                    <a:pt x="141" y="810"/>
                    <a:pt x="111" y="741"/>
                  </a:cubicBezTo>
                  <a:cubicBezTo>
                    <a:pt x="102" y="720"/>
                    <a:pt x="93" y="698"/>
                    <a:pt x="85" y="681"/>
                  </a:cubicBezTo>
                  <a:close/>
                  <a:moveTo>
                    <a:pt x="684" y="541"/>
                  </a:moveTo>
                  <a:cubicBezTo>
                    <a:pt x="707" y="541"/>
                    <a:pt x="707" y="541"/>
                    <a:pt x="707" y="541"/>
                  </a:cubicBezTo>
                  <a:cubicBezTo>
                    <a:pt x="708" y="541"/>
                    <a:pt x="710" y="540"/>
                    <a:pt x="711" y="539"/>
                  </a:cubicBezTo>
                  <a:cubicBezTo>
                    <a:pt x="743" y="502"/>
                    <a:pt x="749" y="485"/>
                    <a:pt x="750" y="484"/>
                  </a:cubicBezTo>
                  <a:cubicBezTo>
                    <a:pt x="750" y="484"/>
                    <a:pt x="750" y="484"/>
                    <a:pt x="750" y="485"/>
                  </a:cubicBezTo>
                  <a:cubicBezTo>
                    <a:pt x="763" y="446"/>
                    <a:pt x="762" y="405"/>
                    <a:pt x="762" y="362"/>
                  </a:cubicBezTo>
                  <a:cubicBezTo>
                    <a:pt x="762" y="162"/>
                    <a:pt x="607" y="0"/>
                    <a:pt x="406" y="0"/>
                  </a:cubicBezTo>
                  <a:cubicBezTo>
                    <a:pt x="204" y="0"/>
                    <a:pt x="49" y="162"/>
                    <a:pt x="49" y="362"/>
                  </a:cubicBezTo>
                  <a:cubicBezTo>
                    <a:pt x="49" y="407"/>
                    <a:pt x="54" y="471"/>
                    <a:pt x="69" y="510"/>
                  </a:cubicBezTo>
                  <a:cubicBezTo>
                    <a:pt x="69" y="510"/>
                    <a:pt x="69" y="510"/>
                    <a:pt x="69" y="510"/>
                  </a:cubicBezTo>
                  <a:cubicBezTo>
                    <a:pt x="104" y="542"/>
                    <a:pt x="103" y="325"/>
                    <a:pt x="208" y="291"/>
                  </a:cubicBezTo>
                  <a:cubicBezTo>
                    <a:pt x="209" y="291"/>
                    <a:pt x="211" y="291"/>
                    <a:pt x="212" y="292"/>
                  </a:cubicBezTo>
                  <a:cubicBezTo>
                    <a:pt x="682" y="540"/>
                    <a:pt x="682" y="540"/>
                    <a:pt x="682" y="540"/>
                  </a:cubicBezTo>
                  <a:cubicBezTo>
                    <a:pt x="683" y="541"/>
                    <a:pt x="683" y="541"/>
                    <a:pt x="684" y="541"/>
                  </a:cubicBezTo>
                  <a:close/>
                </a:path>
              </a:pathLst>
            </a:custGeom>
            <a:solidFill>
              <a:srgbClr val="539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A0002F9-3AFF-5A44-F979-A9ACE4189B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6" y="1446"/>
              <a:ext cx="3078" cy="2440"/>
            </a:xfrm>
            <a:custGeom>
              <a:avLst/>
              <a:gdLst>
                <a:gd name="T0" fmla="*/ 1464 w 1644"/>
                <a:gd name="T1" fmla="*/ 623 h 1303"/>
                <a:gd name="T2" fmla="*/ 1333 w 1644"/>
                <a:gd name="T3" fmla="*/ 462 h 1303"/>
                <a:gd name="T4" fmla="*/ 1041 w 1644"/>
                <a:gd name="T5" fmla="*/ 413 h 1303"/>
                <a:gd name="T6" fmla="*/ 822 w 1644"/>
                <a:gd name="T7" fmla="*/ 518 h 1303"/>
                <a:gd name="T8" fmla="*/ 826 w 1644"/>
                <a:gd name="T9" fmla="*/ 518 h 1303"/>
                <a:gd name="T10" fmla="*/ 818 w 1644"/>
                <a:gd name="T11" fmla="*/ 518 h 1303"/>
                <a:gd name="T12" fmla="*/ 822 w 1644"/>
                <a:gd name="T13" fmla="*/ 518 h 1303"/>
                <a:gd name="T14" fmla="*/ 602 w 1644"/>
                <a:gd name="T15" fmla="*/ 413 h 1303"/>
                <a:gd name="T16" fmla="*/ 310 w 1644"/>
                <a:gd name="T17" fmla="*/ 462 h 1303"/>
                <a:gd name="T18" fmla="*/ 180 w 1644"/>
                <a:gd name="T19" fmla="*/ 623 h 1303"/>
                <a:gd name="T20" fmla="*/ 821 w 1644"/>
                <a:gd name="T21" fmla="*/ 855 h 1303"/>
                <a:gd name="T22" fmla="*/ 1464 w 1644"/>
                <a:gd name="T23" fmla="*/ 623 h 1303"/>
                <a:gd name="T24" fmla="*/ 1549 w 1644"/>
                <a:gd name="T25" fmla="*/ 808 h 1303"/>
                <a:gd name="T26" fmla="*/ 1497 w 1644"/>
                <a:gd name="T27" fmla="*/ 701 h 1303"/>
                <a:gd name="T28" fmla="*/ 1481 w 1644"/>
                <a:gd name="T29" fmla="*/ 660 h 1303"/>
                <a:gd name="T30" fmla="*/ 821 w 1644"/>
                <a:gd name="T31" fmla="*/ 897 h 1303"/>
                <a:gd name="T32" fmla="*/ 163 w 1644"/>
                <a:gd name="T33" fmla="*/ 660 h 1303"/>
                <a:gd name="T34" fmla="*/ 146 w 1644"/>
                <a:gd name="T35" fmla="*/ 701 h 1303"/>
                <a:gd name="T36" fmla="*/ 95 w 1644"/>
                <a:gd name="T37" fmla="*/ 808 h 1303"/>
                <a:gd name="T38" fmla="*/ 821 w 1644"/>
                <a:gd name="T39" fmla="*/ 1070 h 1303"/>
                <a:gd name="T40" fmla="*/ 1549 w 1644"/>
                <a:gd name="T41" fmla="*/ 808 h 1303"/>
                <a:gd name="T42" fmla="*/ 1566 w 1644"/>
                <a:gd name="T43" fmla="*/ 844 h 1303"/>
                <a:gd name="T44" fmla="*/ 821 w 1644"/>
                <a:gd name="T45" fmla="*/ 1112 h 1303"/>
                <a:gd name="T46" fmla="*/ 78 w 1644"/>
                <a:gd name="T47" fmla="*/ 844 h 1303"/>
                <a:gd name="T48" fmla="*/ 0 w 1644"/>
                <a:gd name="T49" fmla="*/ 1007 h 1303"/>
                <a:gd name="T50" fmla="*/ 821 w 1644"/>
                <a:gd name="T51" fmla="*/ 1303 h 1303"/>
                <a:gd name="T52" fmla="*/ 1644 w 1644"/>
                <a:gd name="T53" fmla="*/ 1007 h 1303"/>
                <a:gd name="T54" fmla="*/ 1566 w 1644"/>
                <a:gd name="T55" fmla="*/ 844 h 1303"/>
                <a:gd name="T56" fmla="*/ 515 w 1644"/>
                <a:gd name="T57" fmla="*/ 84 h 1303"/>
                <a:gd name="T58" fmla="*/ 623 w 1644"/>
                <a:gd name="T59" fmla="*/ 312 h 1303"/>
                <a:gd name="T60" fmla="*/ 623 w 1644"/>
                <a:gd name="T61" fmla="*/ 385 h 1303"/>
                <a:gd name="T62" fmla="*/ 628 w 1644"/>
                <a:gd name="T63" fmla="*/ 393 h 1303"/>
                <a:gd name="T64" fmla="*/ 656 w 1644"/>
                <a:gd name="T65" fmla="*/ 422 h 1303"/>
                <a:gd name="T66" fmla="*/ 656 w 1644"/>
                <a:gd name="T67" fmla="*/ 339 h 1303"/>
                <a:gd name="T68" fmla="*/ 822 w 1644"/>
                <a:gd name="T69" fmla="*/ 413 h 1303"/>
                <a:gd name="T70" fmla="*/ 987 w 1644"/>
                <a:gd name="T71" fmla="*/ 339 h 1303"/>
                <a:gd name="T72" fmla="*/ 987 w 1644"/>
                <a:gd name="T73" fmla="*/ 422 h 1303"/>
                <a:gd name="T74" fmla="*/ 1015 w 1644"/>
                <a:gd name="T75" fmla="*/ 393 h 1303"/>
                <a:gd name="T76" fmla="*/ 1020 w 1644"/>
                <a:gd name="T77" fmla="*/ 385 h 1303"/>
                <a:gd name="T78" fmla="*/ 1020 w 1644"/>
                <a:gd name="T79" fmla="*/ 312 h 1303"/>
                <a:gd name="T80" fmla="*/ 1129 w 1644"/>
                <a:gd name="T81" fmla="*/ 84 h 1303"/>
                <a:gd name="T82" fmla="*/ 1181 w 1644"/>
                <a:gd name="T83" fmla="*/ 2 h 1303"/>
                <a:gd name="T84" fmla="*/ 1181 w 1644"/>
                <a:gd name="T85" fmla="*/ 0 h 1303"/>
                <a:gd name="T86" fmla="*/ 1142 w 1644"/>
                <a:gd name="T87" fmla="*/ 18 h 1303"/>
                <a:gd name="T88" fmla="*/ 1108 w 1644"/>
                <a:gd name="T89" fmla="*/ 58 h 1303"/>
                <a:gd name="T90" fmla="*/ 1100 w 1644"/>
                <a:gd name="T91" fmla="*/ 67 h 1303"/>
                <a:gd name="T92" fmla="*/ 992 w 1644"/>
                <a:gd name="T93" fmla="*/ 294 h 1303"/>
                <a:gd name="T94" fmla="*/ 822 w 1644"/>
                <a:gd name="T95" fmla="*/ 379 h 1303"/>
                <a:gd name="T96" fmla="*/ 652 w 1644"/>
                <a:gd name="T97" fmla="*/ 294 h 1303"/>
                <a:gd name="T98" fmla="*/ 543 w 1644"/>
                <a:gd name="T99" fmla="*/ 67 h 1303"/>
                <a:gd name="T100" fmla="*/ 536 w 1644"/>
                <a:gd name="T101" fmla="*/ 58 h 1303"/>
                <a:gd name="T102" fmla="*/ 501 w 1644"/>
                <a:gd name="T103" fmla="*/ 18 h 1303"/>
                <a:gd name="T104" fmla="*/ 463 w 1644"/>
                <a:gd name="T105" fmla="*/ 0 h 1303"/>
                <a:gd name="T106" fmla="*/ 463 w 1644"/>
                <a:gd name="T107" fmla="*/ 3 h 1303"/>
                <a:gd name="T108" fmla="*/ 515 w 1644"/>
                <a:gd name="T109" fmla="*/ 84 h 1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4" h="1303">
                  <a:moveTo>
                    <a:pt x="1464" y="623"/>
                  </a:moveTo>
                  <a:cubicBezTo>
                    <a:pt x="1434" y="561"/>
                    <a:pt x="1389" y="487"/>
                    <a:pt x="1333" y="462"/>
                  </a:cubicBezTo>
                  <a:cubicBezTo>
                    <a:pt x="1231" y="415"/>
                    <a:pt x="1041" y="413"/>
                    <a:pt x="1041" y="413"/>
                  </a:cubicBezTo>
                  <a:cubicBezTo>
                    <a:pt x="1041" y="413"/>
                    <a:pt x="967" y="516"/>
                    <a:pt x="822" y="518"/>
                  </a:cubicBezTo>
                  <a:cubicBezTo>
                    <a:pt x="823" y="518"/>
                    <a:pt x="824" y="518"/>
                    <a:pt x="826" y="518"/>
                  </a:cubicBezTo>
                  <a:cubicBezTo>
                    <a:pt x="818" y="518"/>
                    <a:pt x="818" y="518"/>
                    <a:pt x="818" y="518"/>
                  </a:cubicBezTo>
                  <a:cubicBezTo>
                    <a:pt x="819" y="518"/>
                    <a:pt x="821" y="518"/>
                    <a:pt x="822" y="518"/>
                  </a:cubicBezTo>
                  <a:cubicBezTo>
                    <a:pt x="676" y="516"/>
                    <a:pt x="602" y="413"/>
                    <a:pt x="602" y="413"/>
                  </a:cubicBezTo>
                  <a:cubicBezTo>
                    <a:pt x="602" y="413"/>
                    <a:pt x="413" y="415"/>
                    <a:pt x="310" y="462"/>
                  </a:cubicBezTo>
                  <a:cubicBezTo>
                    <a:pt x="255" y="487"/>
                    <a:pt x="210" y="561"/>
                    <a:pt x="180" y="623"/>
                  </a:cubicBezTo>
                  <a:cubicBezTo>
                    <a:pt x="821" y="855"/>
                    <a:pt x="821" y="855"/>
                    <a:pt x="821" y="855"/>
                  </a:cubicBezTo>
                  <a:lnTo>
                    <a:pt x="1464" y="623"/>
                  </a:lnTo>
                  <a:close/>
                  <a:moveTo>
                    <a:pt x="1549" y="808"/>
                  </a:moveTo>
                  <a:cubicBezTo>
                    <a:pt x="1497" y="701"/>
                    <a:pt x="1497" y="701"/>
                    <a:pt x="1497" y="701"/>
                  </a:cubicBezTo>
                  <a:cubicBezTo>
                    <a:pt x="1493" y="690"/>
                    <a:pt x="1488" y="676"/>
                    <a:pt x="1481" y="660"/>
                  </a:cubicBezTo>
                  <a:cubicBezTo>
                    <a:pt x="821" y="897"/>
                    <a:pt x="821" y="897"/>
                    <a:pt x="821" y="897"/>
                  </a:cubicBezTo>
                  <a:cubicBezTo>
                    <a:pt x="163" y="660"/>
                    <a:pt x="163" y="660"/>
                    <a:pt x="163" y="660"/>
                  </a:cubicBezTo>
                  <a:cubicBezTo>
                    <a:pt x="156" y="676"/>
                    <a:pt x="150" y="690"/>
                    <a:pt x="146" y="701"/>
                  </a:cubicBezTo>
                  <a:cubicBezTo>
                    <a:pt x="95" y="808"/>
                    <a:pt x="95" y="808"/>
                    <a:pt x="95" y="808"/>
                  </a:cubicBezTo>
                  <a:cubicBezTo>
                    <a:pt x="821" y="1070"/>
                    <a:pt x="821" y="1070"/>
                    <a:pt x="821" y="1070"/>
                  </a:cubicBezTo>
                  <a:lnTo>
                    <a:pt x="1549" y="808"/>
                  </a:lnTo>
                  <a:close/>
                  <a:moveTo>
                    <a:pt x="1566" y="844"/>
                  </a:moveTo>
                  <a:cubicBezTo>
                    <a:pt x="821" y="1112"/>
                    <a:pt x="821" y="1112"/>
                    <a:pt x="821" y="1112"/>
                  </a:cubicBezTo>
                  <a:cubicBezTo>
                    <a:pt x="78" y="844"/>
                    <a:pt x="78" y="844"/>
                    <a:pt x="78" y="844"/>
                  </a:cubicBezTo>
                  <a:cubicBezTo>
                    <a:pt x="0" y="1007"/>
                    <a:pt x="0" y="1007"/>
                    <a:pt x="0" y="1007"/>
                  </a:cubicBezTo>
                  <a:cubicBezTo>
                    <a:pt x="821" y="1303"/>
                    <a:pt x="821" y="1303"/>
                    <a:pt x="821" y="1303"/>
                  </a:cubicBezTo>
                  <a:cubicBezTo>
                    <a:pt x="1644" y="1007"/>
                    <a:pt x="1644" y="1007"/>
                    <a:pt x="1644" y="1007"/>
                  </a:cubicBezTo>
                  <a:lnTo>
                    <a:pt x="1566" y="844"/>
                  </a:lnTo>
                  <a:close/>
                  <a:moveTo>
                    <a:pt x="515" y="84"/>
                  </a:moveTo>
                  <a:cubicBezTo>
                    <a:pt x="531" y="126"/>
                    <a:pt x="589" y="270"/>
                    <a:pt x="623" y="312"/>
                  </a:cubicBezTo>
                  <a:cubicBezTo>
                    <a:pt x="623" y="385"/>
                    <a:pt x="623" y="385"/>
                    <a:pt x="623" y="385"/>
                  </a:cubicBezTo>
                  <a:cubicBezTo>
                    <a:pt x="628" y="393"/>
                    <a:pt x="628" y="393"/>
                    <a:pt x="628" y="393"/>
                  </a:cubicBezTo>
                  <a:cubicBezTo>
                    <a:pt x="630" y="394"/>
                    <a:pt x="639" y="407"/>
                    <a:pt x="656" y="422"/>
                  </a:cubicBezTo>
                  <a:cubicBezTo>
                    <a:pt x="656" y="339"/>
                    <a:pt x="656" y="339"/>
                    <a:pt x="656" y="339"/>
                  </a:cubicBezTo>
                  <a:cubicBezTo>
                    <a:pt x="701" y="372"/>
                    <a:pt x="773" y="413"/>
                    <a:pt x="822" y="413"/>
                  </a:cubicBezTo>
                  <a:cubicBezTo>
                    <a:pt x="871" y="413"/>
                    <a:pt x="943" y="372"/>
                    <a:pt x="987" y="339"/>
                  </a:cubicBezTo>
                  <a:cubicBezTo>
                    <a:pt x="987" y="422"/>
                    <a:pt x="987" y="422"/>
                    <a:pt x="987" y="422"/>
                  </a:cubicBezTo>
                  <a:cubicBezTo>
                    <a:pt x="1005" y="407"/>
                    <a:pt x="1014" y="394"/>
                    <a:pt x="1015" y="393"/>
                  </a:cubicBezTo>
                  <a:cubicBezTo>
                    <a:pt x="1020" y="385"/>
                    <a:pt x="1020" y="385"/>
                    <a:pt x="1020" y="385"/>
                  </a:cubicBezTo>
                  <a:cubicBezTo>
                    <a:pt x="1020" y="312"/>
                    <a:pt x="1020" y="312"/>
                    <a:pt x="1020" y="312"/>
                  </a:cubicBezTo>
                  <a:cubicBezTo>
                    <a:pt x="1054" y="269"/>
                    <a:pt x="1112" y="126"/>
                    <a:pt x="1129" y="84"/>
                  </a:cubicBezTo>
                  <a:cubicBezTo>
                    <a:pt x="1168" y="61"/>
                    <a:pt x="1178" y="19"/>
                    <a:pt x="1181" y="2"/>
                  </a:cubicBezTo>
                  <a:cubicBezTo>
                    <a:pt x="1181" y="1"/>
                    <a:pt x="1181" y="0"/>
                    <a:pt x="1181" y="0"/>
                  </a:cubicBezTo>
                  <a:cubicBezTo>
                    <a:pt x="1142" y="18"/>
                    <a:pt x="1142" y="18"/>
                    <a:pt x="1142" y="18"/>
                  </a:cubicBezTo>
                  <a:cubicBezTo>
                    <a:pt x="1137" y="32"/>
                    <a:pt x="1126" y="49"/>
                    <a:pt x="1108" y="58"/>
                  </a:cubicBezTo>
                  <a:cubicBezTo>
                    <a:pt x="1104" y="60"/>
                    <a:pt x="1101" y="63"/>
                    <a:pt x="1100" y="67"/>
                  </a:cubicBezTo>
                  <a:cubicBezTo>
                    <a:pt x="1069" y="144"/>
                    <a:pt x="1013" y="275"/>
                    <a:pt x="992" y="294"/>
                  </a:cubicBezTo>
                  <a:cubicBezTo>
                    <a:pt x="958" y="324"/>
                    <a:pt x="871" y="379"/>
                    <a:pt x="822" y="379"/>
                  </a:cubicBezTo>
                  <a:cubicBezTo>
                    <a:pt x="773" y="379"/>
                    <a:pt x="686" y="324"/>
                    <a:pt x="652" y="294"/>
                  </a:cubicBezTo>
                  <a:cubicBezTo>
                    <a:pt x="631" y="275"/>
                    <a:pt x="574" y="144"/>
                    <a:pt x="543" y="67"/>
                  </a:cubicBezTo>
                  <a:cubicBezTo>
                    <a:pt x="543" y="63"/>
                    <a:pt x="540" y="60"/>
                    <a:pt x="536" y="58"/>
                  </a:cubicBezTo>
                  <a:cubicBezTo>
                    <a:pt x="517" y="49"/>
                    <a:pt x="507" y="32"/>
                    <a:pt x="501" y="18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463" y="1"/>
                    <a:pt x="463" y="3"/>
                    <a:pt x="463" y="3"/>
                  </a:cubicBezTo>
                  <a:cubicBezTo>
                    <a:pt x="467" y="24"/>
                    <a:pt x="478" y="62"/>
                    <a:pt x="515" y="84"/>
                  </a:cubicBezTo>
                  <a:close/>
                </a:path>
              </a:pathLst>
            </a:custGeom>
            <a:solidFill>
              <a:srgbClr val="539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" name="bcgIcons_Complexity ">
            <a:extLst>
              <a:ext uri="{FF2B5EF4-FFF2-40B4-BE49-F238E27FC236}">
                <a16:creationId xmlns:a16="http://schemas.microsoft.com/office/drawing/2014/main" id="{0FB41EDD-6DEE-99D8-BBF4-9B4E87760604}"/>
              </a:ext>
            </a:extLst>
          </p:cNvPr>
          <p:cNvGrpSpPr>
            <a:grpSpLocks noChangeAspect="1"/>
          </p:cNvGrpSpPr>
          <p:nvPr/>
        </p:nvGrpSpPr>
        <p:grpSpPr>
          <a:xfrm>
            <a:off x="1777701" y="1170627"/>
            <a:ext cx="411480" cy="440591"/>
            <a:chOff x="5273675" y="2570163"/>
            <a:chExt cx="1644650" cy="1644650"/>
          </a:xfrm>
        </p:grpSpPr>
        <p:sp>
          <p:nvSpPr>
            <p:cNvPr id="33" name="AutoShape 3">
              <a:extLst>
                <a:ext uri="{FF2B5EF4-FFF2-40B4-BE49-F238E27FC236}">
                  <a16:creationId xmlns:a16="http://schemas.microsoft.com/office/drawing/2014/main" id="{3F36366D-1FC4-8856-F515-A4CBB035271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D7E11960-A142-3BA3-097B-A25094E6BF48}"/>
                </a:ext>
              </a:extLst>
            </p:cNvPr>
            <p:cNvGrpSpPr/>
            <p:nvPr/>
          </p:nvGrpSpPr>
          <p:grpSpPr>
            <a:xfrm>
              <a:off x="5548313" y="2844801"/>
              <a:ext cx="1093788" cy="1093788"/>
              <a:chOff x="5548313" y="2844801"/>
              <a:chExt cx="1093788" cy="1093788"/>
            </a:xfrm>
          </p:grpSpPr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00EBC333-6693-269A-791B-1F6F4EBFAF44}"/>
                  </a:ext>
                </a:extLst>
              </p:cNvPr>
              <p:cNvSpPr/>
              <p:nvPr/>
            </p:nvSpPr>
            <p:spPr bwMode="auto">
              <a:xfrm>
                <a:off x="5548313" y="2844801"/>
                <a:ext cx="1093788" cy="1093788"/>
              </a:xfrm>
              <a:custGeom>
                <a:avLst/>
                <a:gdLst>
                  <a:gd name="connsiteX0" fmla="*/ 546894 w 1093788"/>
                  <a:gd name="connsiteY0" fmla="*/ 352425 h 1093788"/>
                  <a:gd name="connsiteX1" fmla="*/ 562623 w 1093788"/>
                  <a:gd name="connsiteY1" fmla="*/ 368154 h 1093788"/>
                  <a:gd name="connsiteX2" fmla="*/ 546894 w 1093788"/>
                  <a:gd name="connsiteY2" fmla="*/ 383883 h 1093788"/>
                  <a:gd name="connsiteX3" fmla="*/ 383883 w 1093788"/>
                  <a:gd name="connsiteY3" fmla="*/ 546894 h 1093788"/>
                  <a:gd name="connsiteX4" fmla="*/ 546894 w 1093788"/>
                  <a:gd name="connsiteY4" fmla="*/ 709905 h 1093788"/>
                  <a:gd name="connsiteX5" fmla="*/ 709905 w 1093788"/>
                  <a:gd name="connsiteY5" fmla="*/ 546894 h 1093788"/>
                  <a:gd name="connsiteX6" fmla="*/ 725634 w 1093788"/>
                  <a:gd name="connsiteY6" fmla="*/ 531165 h 1093788"/>
                  <a:gd name="connsiteX7" fmla="*/ 741363 w 1093788"/>
                  <a:gd name="connsiteY7" fmla="*/ 546894 h 1093788"/>
                  <a:gd name="connsiteX8" fmla="*/ 546894 w 1093788"/>
                  <a:gd name="connsiteY8" fmla="*/ 741363 h 1093788"/>
                  <a:gd name="connsiteX9" fmla="*/ 352425 w 1093788"/>
                  <a:gd name="connsiteY9" fmla="*/ 546894 h 1093788"/>
                  <a:gd name="connsiteX10" fmla="*/ 546894 w 1093788"/>
                  <a:gd name="connsiteY10" fmla="*/ 352425 h 1093788"/>
                  <a:gd name="connsiteX11" fmla="*/ 546894 w 1093788"/>
                  <a:gd name="connsiteY11" fmla="*/ 0 h 1093788"/>
                  <a:gd name="connsiteX12" fmla="*/ 995976 w 1093788"/>
                  <a:gd name="connsiteY12" fmla="*/ 234179 h 1093788"/>
                  <a:gd name="connsiteX13" fmla="*/ 991692 w 1093788"/>
                  <a:gd name="connsiteY13" fmla="*/ 256312 h 1093788"/>
                  <a:gd name="connsiteX14" fmla="*/ 969559 w 1093788"/>
                  <a:gd name="connsiteY14" fmla="*/ 252028 h 1093788"/>
                  <a:gd name="connsiteX15" fmla="*/ 546894 w 1093788"/>
                  <a:gd name="connsiteY15" fmla="*/ 31414 h 1093788"/>
                  <a:gd name="connsiteX16" fmla="*/ 31414 w 1093788"/>
                  <a:gd name="connsiteY16" fmla="*/ 546894 h 1093788"/>
                  <a:gd name="connsiteX17" fmla="*/ 204907 w 1093788"/>
                  <a:gd name="connsiteY17" fmla="*/ 931719 h 1093788"/>
                  <a:gd name="connsiteX18" fmla="*/ 257026 w 1093788"/>
                  <a:gd name="connsiteY18" fmla="*/ 874602 h 1093788"/>
                  <a:gd name="connsiteX19" fmla="*/ 189913 w 1093788"/>
                  <a:gd name="connsiteY19" fmla="*/ 800350 h 1093788"/>
                  <a:gd name="connsiteX20" fmla="*/ 194197 w 1093788"/>
                  <a:gd name="connsiteY20" fmla="*/ 778217 h 1093788"/>
                  <a:gd name="connsiteX21" fmla="*/ 215616 w 1093788"/>
                  <a:gd name="connsiteY21" fmla="*/ 781787 h 1093788"/>
                  <a:gd name="connsiteX22" fmla="*/ 370546 w 1093788"/>
                  <a:gd name="connsiteY22" fmla="*/ 912442 h 1093788"/>
                  <a:gd name="connsiteX23" fmla="*/ 912442 w 1093788"/>
                  <a:gd name="connsiteY23" fmla="*/ 723242 h 1093788"/>
                  <a:gd name="connsiteX24" fmla="*/ 723243 w 1093788"/>
                  <a:gd name="connsiteY24" fmla="*/ 181346 h 1093788"/>
                  <a:gd name="connsiteX25" fmla="*/ 562601 w 1093788"/>
                  <a:gd name="connsiteY25" fmla="*/ 141364 h 1093788"/>
                  <a:gd name="connsiteX26" fmla="*/ 562601 w 1093788"/>
                  <a:gd name="connsiteY26" fmla="*/ 227753 h 1093788"/>
                  <a:gd name="connsiteX27" fmla="*/ 866035 w 1093788"/>
                  <a:gd name="connsiteY27" fmla="*/ 546894 h 1093788"/>
                  <a:gd name="connsiteX28" fmla="*/ 739664 w 1093788"/>
                  <a:gd name="connsiteY28" fmla="*/ 801778 h 1093788"/>
                  <a:gd name="connsiteX29" fmla="*/ 717531 w 1093788"/>
                  <a:gd name="connsiteY29" fmla="*/ 798208 h 1093788"/>
                  <a:gd name="connsiteX30" fmla="*/ 721101 w 1093788"/>
                  <a:gd name="connsiteY30" fmla="*/ 776790 h 1093788"/>
                  <a:gd name="connsiteX31" fmla="*/ 834620 w 1093788"/>
                  <a:gd name="connsiteY31" fmla="*/ 546894 h 1093788"/>
                  <a:gd name="connsiteX32" fmla="*/ 546894 w 1093788"/>
                  <a:gd name="connsiteY32" fmla="*/ 259168 h 1093788"/>
                  <a:gd name="connsiteX33" fmla="*/ 259168 w 1093788"/>
                  <a:gd name="connsiteY33" fmla="*/ 546894 h 1093788"/>
                  <a:gd name="connsiteX34" fmla="*/ 546894 w 1093788"/>
                  <a:gd name="connsiteY34" fmla="*/ 834620 h 1093788"/>
                  <a:gd name="connsiteX35" fmla="*/ 562601 w 1093788"/>
                  <a:gd name="connsiteY35" fmla="*/ 850328 h 1093788"/>
                  <a:gd name="connsiteX36" fmla="*/ 546894 w 1093788"/>
                  <a:gd name="connsiteY36" fmla="*/ 866035 h 1093788"/>
                  <a:gd name="connsiteX37" fmla="*/ 227753 w 1093788"/>
                  <a:gd name="connsiteY37" fmla="*/ 546894 h 1093788"/>
                  <a:gd name="connsiteX38" fmla="*/ 531187 w 1093788"/>
                  <a:gd name="connsiteY38" fmla="*/ 227753 h 1093788"/>
                  <a:gd name="connsiteX39" fmla="*/ 531187 w 1093788"/>
                  <a:gd name="connsiteY39" fmla="*/ 141364 h 1093788"/>
                  <a:gd name="connsiteX40" fmla="*/ 181346 w 1093788"/>
                  <a:gd name="connsiteY40" fmla="*/ 370546 h 1093788"/>
                  <a:gd name="connsiteX41" fmla="*/ 143506 w 1093788"/>
                  <a:gd name="connsiteY41" fmla="*/ 590446 h 1093788"/>
                  <a:gd name="connsiteX42" fmla="*/ 129227 w 1093788"/>
                  <a:gd name="connsiteY42" fmla="*/ 607581 h 1093788"/>
                  <a:gd name="connsiteX43" fmla="*/ 112092 w 1093788"/>
                  <a:gd name="connsiteY43" fmla="*/ 593302 h 1093788"/>
                  <a:gd name="connsiteX44" fmla="*/ 153501 w 1093788"/>
                  <a:gd name="connsiteY44" fmla="*/ 356267 h 1093788"/>
                  <a:gd name="connsiteX45" fmla="*/ 545466 w 1093788"/>
                  <a:gd name="connsiteY45" fmla="*/ 109950 h 1093788"/>
                  <a:gd name="connsiteX46" fmla="*/ 546894 w 1093788"/>
                  <a:gd name="connsiteY46" fmla="*/ 109236 h 1093788"/>
                  <a:gd name="connsiteX47" fmla="*/ 547608 w 1093788"/>
                  <a:gd name="connsiteY47" fmla="*/ 109950 h 1093788"/>
                  <a:gd name="connsiteX48" fmla="*/ 737522 w 1093788"/>
                  <a:gd name="connsiteY48" fmla="*/ 153501 h 1093788"/>
                  <a:gd name="connsiteX49" fmla="*/ 940287 w 1093788"/>
                  <a:gd name="connsiteY49" fmla="*/ 737522 h 1093788"/>
                  <a:gd name="connsiteX50" fmla="*/ 546180 w 1093788"/>
                  <a:gd name="connsiteY50" fmla="*/ 983838 h 1093788"/>
                  <a:gd name="connsiteX51" fmla="*/ 356267 w 1093788"/>
                  <a:gd name="connsiteY51" fmla="*/ 940287 h 1093788"/>
                  <a:gd name="connsiteX52" fmla="*/ 281300 w 1093788"/>
                  <a:gd name="connsiteY52" fmla="*/ 894593 h 1093788"/>
                  <a:gd name="connsiteX53" fmla="*/ 228467 w 1093788"/>
                  <a:gd name="connsiteY53" fmla="*/ 952424 h 1093788"/>
                  <a:gd name="connsiteX54" fmla="*/ 546894 w 1093788"/>
                  <a:gd name="connsiteY54" fmla="*/ 1062374 h 1093788"/>
                  <a:gd name="connsiteX55" fmla="*/ 1062374 w 1093788"/>
                  <a:gd name="connsiteY55" fmla="*/ 546894 h 1093788"/>
                  <a:gd name="connsiteX56" fmla="*/ 1046667 w 1093788"/>
                  <a:gd name="connsiteY56" fmla="*/ 419095 h 1093788"/>
                  <a:gd name="connsiteX57" fmla="*/ 1058090 w 1093788"/>
                  <a:gd name="connsiteY57" fmla="*/ 399818 h 1093788"/>
                  <a:gd name="connsiteX58" fmla="*/ 1076653 w 1093788"/>
                  <a:gd name="connsiteY58" fmla="*/ 411242 h 1093788"/>
                  <a:gd name="connsiteX59" fmla="*/ 1093788 w 1093788"/>
                  <a:gd name="connsiteY59" fmla="*/ 546894 h 1093788"/>
                  <a:gd name="connsiteX60" fmla="*/ 546894 w 1093788"/>
                  <a:gd name="connsiteY60" fmla="*/ 1093788 h 1093788"/>
                  <a:gd name="connsiteX61" fmla="*/ 197767 w 1093788"/>
                  <a:gd name="connsiteY61" fmla="*/ 967417 h 1093788"/>
                  <a:gd name="connsiteX62" fmla="*/ 194911 w 1093788"/>
                  <a:gd name="connsiteY62" fmla="*/ 965989 h 1093788"/>
                  <a:gd name="connsiteX63" fmla="*/ 194197 w 1093788"/>
                  <a:gd name="connsiteY63" fmla="*/ 964561 h 1093788"/>
                  <a:gd name="connsiteX64" fmla="*/ 0 w 1093788"/>
                  <a:gd name="connsiteY64" fmla="*/ 546894 h 1093788"/>
                  <a:gd name="connsiteX65" fmla="*/ 546894 w 1093788"/>
                  <a:gd name="connsiteY65" fmla="*/ 0 h 1093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093788" h="1093788">
                    <a:moveTo>
                      <a:pt x="546894" y="352425"/>
                    </a:moveTo>
                    <a:cubicBezTo>
                      <a:pt x="555474" y="352425"/>
                      <a:pt x="562623" y="359575"/>
                      <a:pt x="562623" y="368154"/>
                    </a:cubicBezTo>
                    <a:cubicBezTo>
                      <a:pt x="562623" y="376734"/>
                      <a:pt x="555474" y="383883"/>
                      <a:pt x="546894" y="383883"/>
                    </a:cubicBezTo>
                    <a:cubicBezTo>
                      <a:pt x="456809" y="383883"/>
                      <a:pt x="383883" y="456809"/>
                      <a:pt x="383883" y="546894"/>
                    </a:cubicBezTo>
                    <a:cubicBezTo>
                      <a:pt x="383883" y="636979"/>
                      <a:pt x="456809" y="709905"/>
                      <a:pt x="546894" y="709905"/>
                    </a:cubicBezTo>
                    <a:cubicBezTo>
                      <a:pt x="636979" y="709905"/>
                      <a:pt x="709905" y="636979"/>
                      <a:pt x="709905" y="546894"/>
                    </a:cubicBezTo>
                    <a:cubicBezTo>
                      <a:pt x="709905" y="538315"/>
                      <a:pt x="717055" y="531165"/>
                      <a:pt x="725634" y="531165"/>
                    </a:cubicBezTo>
                    <a:cubicBezTo>
                      <a:pt x="734214" y="531165"/>
                      <a:pt x="741363" y="538315"/>
                      <a:pt x="741363" y="546894"/>
                    </a:cubicBezTo>
                    <a:cubicBezTo>
                      <a:pt x="741363" y="654138"/>
                      <a:pt x="654138" y="741363"/>
                      <a:pt x="546894" y="741363"/>
                    </a:cubicBezTo>
                    <a:cubicBezTo>
                      <a:pt x="439650" y="741363"/>
                      <a:pt x="352425" y="654138"/>
                      <a:pt x="352425" y="546894"/>
                    </a:cubicBezTo>
                    <a:cubicBezTo>
                      <a:pt x="352425" y="439650"/>
                      <a:pt x="439650" y="352425"/>
                      <a:pt x="546894" y="352425"/>
                    </a:cubicBezTo>
                    <a:close/>
                    <a:moveTo>
                      <a:pt x="546894" y="0"/>
                    </a:moveTo>
                    <a:cubicBezTo>
                      <a:pt x="725384" y="0"/>
                      <a:pt x="893165" y="87817"/>
                      <a:pt x="995976" y="234179"/>
                    </a:cubicBezTo>
                    <a:cubicBezTo>
                      <a:pt x="1000259" y="241319"/>
                      <a:pt x="998831" y="251314"/>
                      <a:pt x="991692" y="256312"/>
                    </a:cubicBezTo>
                    <a:cubicBezTo>
                      <a:pt x="984552" y="261310"/>
                      <a:pt x="974557" y="259168"/>
                      <a:pt x="969559" y="252028"/>
                    </a:cubicBezTo>
                    <a:cubicBezTo>
                      <a:pt x="873174" y="114234"/>
                      <a:pt x="715389" y="31414"/>
                      <a:pt x="546894" y="31414"/>
                    </a:cubicBezTo>
                    <a:cubicBezTo>
                      <a:pt x="262737" y="31414"/>
                      <a:pt x="31414" y="262737"/>
                      <a:pt x="31414" y="546894"/>
                    </a:cubicBezTo>
                    <a:cubicBezTo>
                      <a:pt x="31414" y="699682"/>
                      <a:pt x="98526" y="837476"/>
                      <a:pt x="204907" y="931719"/>
                    </a:cubicBezTo>
                    <a:cubicBezTo>
                      <a:pt x="204907" y="931719"/>
                      <a:pt x="204907" y="931719"/>
                      <a:pt x="257026" y="874602"/>
                    </a:cubicBezTo>
                    <a:cubicBezTo>
                      <a:pt x="232037" y="852469"/>
                      <a:pt x="209904" y="827481"/>
                      <a:pt x="189913" y="800350"/>
                    </a:cubicBezTo>
                    <a:cubicBezTo>
                      <a:pt x="184916" y="793211"/>
                      <a:pt x="187057" y="783215"/>
                      <a:pt x="194197" y="778217"/>
                    </a:cubicBezTo>
                    <a:cubicBezTo>
                      <a:pt x="201337" y="773220"/>
                      <a:pt x="210618" y="774648"/>
                      <a:pt x="215616" y="781787"/>
                    </a:cubicBezTo>
                    <a:cubicBezTo>
                      <a:pt x="254884" y="837476"/>
                      <a:pt x="308431" y="882456"/>
                      <a:pt x="370546" y="912442"/>
                    </a:cubicBezTo>
                    <a:cubicBezTo>
                      <a:pt x="571883" y="1009541"/>
                      <a:pt x="814630" y="925293"/>
                      <a:pt x="912442" y="723242"/>
                    </a:cubicBezTo>
                    <a:cubicBezTo>
                      <a:pt x="1009541" y="521906"/>
                      <a:pt x="925293" y="279159"/>
                      <a:pt x="723243" y="181346"/>
                    </a:cubicBezTo>
                    <a:cubicBezTo>
                      <a:pt x="671837" y="156357"/>
                      <a:pt x="616862" y="143506"/>
                      <a:pt x="562601" y="141364"/>
                    </a:cubicBezTo>
                    <a:cubicBezTo>
                      <a:pt x="562601" y="141364"/>
                      <a:pt x="562601" y="141364"/>
                      <a:pt x="562601" y="227753"/>
                    </a:cubicBezTo>
                    <a:cubicBezTo>
                      <a:pt x="731810" y="236321"/>
                      <a:pt x="866035" y="376258"/>
                      <a:pt x="866035" y="546894"/>
                    </a:cubicBezTo>
                    <a:cubicBezTo>
                      <a:pt x="866035" y="647563"/>
                      <a:pt x="820341" y="740378"/>
                      <a:pt x="739664" y="801778"/>
                    </a:cubicBezTo>
                    <a:cubicBezTo>
                      <a:pt x="733238" y="806776"/>
                      <a:pt x="723243" y="805348"/>
                      <a:pt x="717531" y="798208"/>
                    </a:cubicBezTo>
                    <a:cubicBezTo>
                      <a:pt x="712533" y="791783"/>
                      <a:pt x="713961" y="781787"/>
                      <a:pt x="721101" y="776790"/>
                    </a:cubicBezTo>
                    <a:cubicBezTo>
                      <a:pt x="793211" y="721101"/>
                      <a:pt x="834620" y="637567"/>
                      <a:pt x="834620" y="546894"/>
                    </a:cubicBezTo>
                    <a:cubicBezTo>
                      <a:pt x="834620" y="388395"/>
                      <a:pt x="705394" y="259168"/>
                      <a:pt x="546894" y="259168"/>
                    </a:cubicBezTo>
                    <a:cubicBezTo>
                      <a:pt x="388395" y="259168"/>
                      <a:pt x="259168" y="388395"/>
                      <a:pt x="259168" y="546894"/>
                    </a:cubicBezTo>
                    <a:cubicBezTo>
                      <a:pt x="259168" y="705393"/>
                      <a:pt x="388395" y="834620"/>
                      <a:pt x="546894" y="834620"/>
                    </a:cubicBezTo>
                    <a:cubicBezTo>
                      <a:pt x="555462" y="834620"/>
                      <a:pt x="562601" y="841760"/>
                      <a:pt x="562601" y="850328"/>
                    </a:cubicBezTo>
                    <a:cubicBezTo>
                      <a:pt x="562601" y="859609"/>
                      <a:pt x="555462" y="866035"/>
                      <a:pt x="546894" y="866035"/>
                    </a:cubicBezTo>
                    <a:cubicBezTo>
                      <a:pt x="370546" y="866035"/>
                      <a:pt x="227753" y="723242"/>
                      <a:pt x="227753" y="546894"/>
                    </a:cubicBezTo>
                    <a:cubicBezTo>
                      <a:pt x="227753" y="376258"/>
                      <a:pt x="361978" y="236321"/>
                      <a:pt x="531187" y="227753"/>
                    </a:cubicBezTo>
                    <a:cubicBezTo>
                      <a:pt x="531187" y="227753"/>
                      <a:pt x="531187" y="227753"/>
                      <a:pt x="531187" y="141364"/>
                    </a:cubicBezTo>
                    <a:cubicBezTo>
                      <a:pt x="386253" y="147076"/>
                      <a:pt x="249172" y="230609"/>
                      <a:pt x="181346" y="370546"/>
                    </a:cubicBezTo>
                    <a:cubicBezTo>
                      <a:pt x="148504" y="439086"/>
                      <a:pt x="134938" y="514766"/>
                      <a:pt x="143506" y="590446"/>
                    </a:cubicBezTo>
                    <a:cubicBezTo>
                      <a:pt x="144220" y="599013"/>
                      <a:pt x="137794" y="606153"/>
                      <a:pt x="129227" y="607581"/>
                    </a:cubicBezTo>
                    <a:cubicBezTo>
                      <a:pt x="120659" y="608295"/>
                      <a:pt x="112806" y="601869"/>
                      <a:pt x="112092" y="593302"/>
                    </a:cubicBezTo>
                    <a:cubicBezTo>
                      <a:pt x="103524" y="512624"/>
                      <a:pt x="117803" y="430519"/>
                      <a:pt x="153501" y="356267"/>
                    </a:cubicBezTo>
                    <a:cubicBezTo>
                      <a:pt x="228467" y="201337"/>
                      <a:pt x="384111" y="110664"/>
                      <a:pt x="545466" y="109950"/>
                    </a:cubicBezTo>
                    <a:cubicBezTo>
                      <a:pt x="546180" y="109950"/>
                      <a:pt x="546180" y="109236"/>
                      <a:pt x="546894" y="109236"/>
                    </a:cubicBezTo>
                    <a:cubicBezTo>
                      <a:pt x="546894" y="109236"/>
                      <a:pt x="547608" y="109950"/>
                      <a:pt x="547608" y="109950"/>
                    </a:cubicBezTo>
                    <a:cubicBezTo>
                      <a:pt x="611151" y="109950"/>
                      <a:pt x="676121" y="123515"/>
                      <a:pt x="737522" y="153501"/>
                    </a:cubicBezTo>
                    <a:cubicBezTo>
                      <a:pt x="954566" y="258454"/>
                      <a:pt x="1045239" y="520478"/>
                      <a:pt x="940287" y="737522"/>
                    </a:cubicBezTo>
                    <a:cubicBezTo>
                      <a:pt x="865321" y="893165"/>
                      <a:pt x="708963" y="983838"/>
                      <a:pt x="546180" y="983838"/>
                    </a:cubicBezTo>
                    <a:cubicBezTo>
                      <a:pt x="482638" y="983838"/>
                      <a:pt x="417667" y="970273"/>
                      <a:pt x="356267" y="940287"/>
                    </a:cubicBezTo>
                    <a:cubicBezTo>
                      <a:pt x="329850" y="927435"/>
                      <a:pt x="304861" y="912442"/>
                      <a:pt x="281300" y="894593"/>
                    </a:cubicBezTo>
                    <a:cubicBezTo>
                      <a:pt x="281300" y="894593"/>
                      <a:pt x="281300" y="894593"/>
                      <a:pt x="228467" y="952424"/>
                    </a:cubicBezTo>
                    <a:cubicBezTo>
                      <a:pt x="316284" y="1020964"/>
                      <a:pt x="426949" y="1062374"/>
                      <a:pt x="546894" y="1062374"/>
                    </a:cubicBezTo>
                    <a:cubicBezTo>
                      <a:pt x="831051" y="1062374"/>
                      <a:pt x="1062374" y="831051"/>
                      <a:pt x="1062374" y="546894"/>
                    </a:cubicBezTo>
                    <a:cubicBezTo>
                      <a:pt x="1062374" y="503343"/>
                      <a:pt x="1056662" y="460505"/>
                      <a:pt x="1046667" y="419095"/>
                    </a:cubicBezTo>
                    <a:cubicBezTo>
                      <a:pt x="1044525" y="410528"/>
                      <a:pt x="1049523" y="401960"/>
                      <a:pt x="1058090" y="399818"/>
                    </a:cubicBezTo>
                    <a:cubicBezTo>
                      <a:pt x="1065944" y="397676"/>
                      <a:pt x="1074511" y="402674"/>
                      <a:pt x="1076653" y="411242"/>
                    </a:cubicBezTo>
                    <a:cubicBezTo>
                      <a:pt x="1088077" y="455507"/>
                      <a:pt x="1093788" y="501201"/>
                      <a:pt x="1093788" y="546894"/>
                    </a:cubicBezTo>
                    <a:cubicBezTo>
                      <a:pt x="1093788" y="848186"/>
                      <a:pt x="848186" y="1093788"/>
                      <a:pt x="546894" y="1093788"/>
                    </a:cubicBezTo>
                    <a:cubicBezTo>
                      <a:pt x="414098" y="1093788"/>
                      <a:pt x="292724" y="1046667"/>
                      <a:pt x="197767" y="967417"/>
                    </a:cubicBezTo>
                    <a:cubicBezTo>
                      <a:pt x="197053" y="967417"/>
                      <a:pt x="196339" y="966703"/>
                      <a:pt x="194911" y="965989"/>
                    </a:cubicBezTo>
                    <a:cubicBezTo>
                      <a:pt x="194911" y="965275"/>
                      <a:pt x="194197" y="964561"/>
                      <a:pt x="194197" y="964561"/>
                    </a:cubicBezTo>
                    <a:cubicBezTo>
                      <a:pt x="75680" y="863893"/>
                      <a:pt x="0" y="713961"/>
                      <a:pt x="0" y="546894"/>
                    </a:cubicBezTo>
                    <a:cubicBezTo>
                      <a:pt x="0" y="245602"/>
                      <a:pt x="245602" y="0"/>
                      <a:pt x="546894" y="0"/>
                    </a:cubicBezTo>
                    <a:close/>
                  </a:path>
                </a:pathLst>
              </a:custGeom>
              <a:solidFill>
                <a:srgbClr val="29495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14C0535-07E0-2D56-77C2-A15B9F08C2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5038" y="3311526"/>
                <a:ext cx="160338" cy="160338"/>
              </a:xfrm>
              <a:prstGeom prst="ellipse">
                <a:avLst/>
              </a:prstGeom>
              <a:solidFill>
                <a:srgbClr val="5393A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7" name="bcgIcons_Bank ">
            <a:extLst>
              <a:ext uri="{FF2B5EF4-FFF2-40B4-BE49-F238E27FC236}">
                <a16:creationId xmlns:a16="http://schemas.microsoft.com/office/drawing/2014/main" id="{3BF5AC8F-3074-3B50-046E-7351E5CDDD52}"/>
              </a:ext>
            </a:extLst>
          </p:cNvPr>
          <p:cNvGrpSpPr>
            <a:grpSpLocks noChangeAspect="1"/>
          </p:cNvGrpSpPr>
          <p:nvPr/>
        </p:nvGrpSpPr>
        <p:grpSpPr>
          <a:xfrm>
            <a:off x="9467076" y="1076345"/>
            <a:ext cx="376721" cy="356521"/>
            <a:chOff x="5273799" y="2606040"/>
            <a:chExt cx="1644396" cy="1645920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id="{091B9DD4-712A-84D6-607E-EEE06F83BEA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0B4F96C-1380-EB59-51CA-96D814338EA2}"/>
                </a:ext>
              </a:extLst>
            </p:cNvPr>
            <p:cNvGrpSpPr/>
            <p:nvPr/>
          </p:nvGrpSpPr>
          <p:grpSpPr>
            <a:xfrm>
              <a:off x="5442201" y="2765298"/>
              <a:ext cx="1306068" cy="1315974"/>
              <a:chOff x="5442201" y="2765298"/>
              <a:chExt cx="1306068" cy="1315974"/>
            </a:xfrm>
          </p:grpSpPr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8D329144-3481-0AA0-C6CE-30E49852CA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201" y="2765298"/>
                <a:ext cx="1306068" cy="1315974"/>
              </a:xfrm>
              <a:custGeom>
                <a:avLst/>
                <a:gdLst>
                  <a:gd name="T0" fmla="*/ 1807 w 1830"/>
                  <a:gd name="T1" fmla="*/ 1666 h 1842"/>
                  <a:gd name="T2" fmla="*/ 1708 w 1830"/>
                  <a:gd name="T3" fmla="*/ 1666 h 1842"/>
                  <a:gd name="T4" fmla="*/ 1708 w 1830"/>
                  <a:gd name="T5" fmla="*/ 1616 h 1842"/>
                  <a:gd name="T6" fmla="*/ 1686 w 1830"/>
                  <a:gd name="T7" fmla="*/ 1594 h 1842"/>
                  <a:gd name="T8" fmla="*/ 144 w 1830"/>
                  <a:gd name="T9" fmla="*/ 1594 h 1842"/>
                  <a:gd name="T10" fmla="*/ 122 w 1830"/>
                  <a:gd name="T11" fmla="*/ 1616 h 1842"/>
                  <a:gd name="T12" fmla="*/ 122 w 1830"/>
                  <a:gd name="T13" fmla="*/ 1666 h 1842"/>
                  <a:gd name="T14" fmla="*/ 23 w 1830"/>
                  <a:gd name="T15" fmla="*/ 1666 h 1842"/>
                  <a:gd name="T16" fmla="*/ 1 w 1830"/>
                  <a:gd name="T17" fmla="*/ 1688 h 1842"/>
                  <a:gd name="T18" fmla="*/ 1 w 1830"/>
                  <a:gd name="T19" fmla="*/ 1820 h 1842"/>
                  <a:gd name="T20" fmla="*/ 23 w 1830"/>
                  <a:gd name="T21" fmla="*/ 1842 h 1842"/>
                  <a:gd name="T22" fmla="*/ 1807 w 1830"/>
                  <a:gd name="T23" fmla="*/ 1842 h 1842"/>
                  <a:gd name="T24" fmla="*/ 1829 w 1830"/>
                  <a:gd name="T25" fmla="*/ 1820 h 1842"/>
                  <a:gd name="T26" fmla="*/ 1829 w 1830"/>
                  <a:gd name="T27" fmla="*/ 1688 h 1842"/>
                  <a:gd name="T28" fmla="*/ 1807 w 1830"/>
                  <a:gd name="T29" fmla="*/ 1666 h 1842"/>
                  <a:gd name="T30" fmla="*/ 1818 w 1830"/>
                  <a:gd name="T31" fmla="*/ 441 h 1842"/>
                  <a:gd name="T32" fmla="*/ 925 w 1830"/>
                  <a:gd name="T33" fmla="*/ 3 h 1842"/>
                  <a:gd name="T34" fmla="*/ 905 w 1830"/>
                  <a:gd name="T35" fmla="*/ 3 h 1842"/>
                  <a:gd name="T36" fmla="*/ 12 w 1830"/>
                  <a:gd name="T37" fmla="*/ 441 h 1842"/>
                  <a:gd name="T38" fmla="*/ 0 w 1830"/>
                  <a:gd name="T39" fmla="*/ 461 h 1842"/>
                  <a:gd name="T40" fmla="*/ 0 w 1830"/>
                  <a:gd name="T41" fmla="*/ 533 h 1842"/>
                  <a:gd name="T42" fmla="*/ 22 w 1830"/>
                  <a:gd name="T43" fmla="*/ 555 h 1842"/>
                  <a:gd name="T44" fmla="*/ 169 w 1830"/>
                  <a:gd name="T45" fmla="*/ 555 h 1842"/>
                  <a:gd name="T46" fmla="*/ 169 w 1830"/>
                  <a:gd name="T47" fmla="*/ 641 h 1842"/>
                  <a:gd name="T48" fmla="*/ 191 w 1830"/>
                  <a:gd name="T49" fmla="*/ 663 h 1842"/>
                  <a:gd name="T50" fmla="*/ 1639 w 1830"/>
                  <a:gd name="T51" fmla="*/ 663 h 1842"/>
                  <a:gd name="T52" fmla="*/ 1661 w 1830"/>
                  <a:gd name="T53" fmla="*/ 641 h 1842"/>
                  <a:gd name="T54" fmla="*/ 1661 w 1830"/>
                  <a:gd name="T55" fmla="*/ 555 h 1842"/>
                  <a:gd name="T56" fmla="*/ 1808 w 1830"/>
                  <a:gd name="T57" fmla="*/ 555 h 1842"/>
                  <a:gd name="T58" fmla="*/ 1830 w 1830"/>
                  <a:gd name="T59" fmla="*/ 533 h 1842"/>
                  <a:gd name="T60" fmla="*/ 1830 w 1830"/>
                  <a:gd name="T61" fmla="*/ 461 h 1842"/>
                  <a:gd name="T62" fmla="*/ 1818 w 1830"/>
                  <a:gd name="T63" fmla="*/ 441 h 1842"/>
                  <a:gd name="T64" fmla="*/ 1617 w 1830"/>
                  <a:gd name="T65" fmla="*/ 619 h 1842"/>
                  <a:gd name="T66" fmla="*/ 213 w 1830"/>
                  <a:gd name="T67" fmla="*/ 619 h 1842"/>
                  <a:gd name="T68" fmla="*/ 213 w 1830"/>
                  <a:gd name="T69" fmla="*/ 555 h 1842"/>
                  <a:gd name="T70" fmla="*/ 1617 w 1830"/>
                  <a:gd name="T71" fmla="*/ 555 h 1842"/>
                  <a:gd name="T72" fmla="*/ 1617 w 1830"/>
                  <a:gd name="T73" fmla="*/ 619 h 1842"/>
                  <a:gd name="T74" fmla="*/ 1786 w 1830"/>
                  <a:gd name="T75" fmla="*/ 511 h 1842"/>
                  <a:gd name="T76" fmla="*/ 1661 w 1830"/>
                  <a:gd name="T77" fmla="*/ 511 h 1842"/>
                  <a:gd name="T78" fmla="*/ 1617 w 1830"/>
                  <a:gd name="T79" fmla="*/ 511 h 1842"/>
                  <a:gd name="T80" fmla="*/ 213 w 1830"/>
                  <a:gd name="T81" fmla="*/ 511 h 1842"/>
                  <a:gd name="T82" fmla="*/ 169 w 1830"/>
                  <a:gd name="T83" fmla="*/ 511 h 1842"/>
                  <a:gd name="T84" fmla="*/ 44 w 1830"/>
                  <a:gd name="T85" fmla="*/ 511 h 1842"/>
                  <a:gd name="T86" fmla="*/ 44 w 1830"/>
                  <a:gd name="T87" fmla="*/ 474 h 1842"/>
                  <a:gd name="T88" fmla="*/ 915 w 1830"/>
                  <a:gd name="T89" fmla="*/ 47 h 1842"/>
                  <a:gd name="T90" fmla="*/ 1786 w 1830"/>
                  <a:gd name="T91" fmla="*/ 474 h 1842"/>
                  <a:gd name="T92" fmla="*/ 1786 w 1830"/>
                  <a:gd name="T93" fmla="*/ 511 h 1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30" h="1842">
                    <a:moveTo>
                      <a:pt x="1807" y="1666"/>
                    </a:moveTo>
                    <a:cubicBezTo>
                      <a:pt x="1708" y="1666"/>
                      <a:pt x="1708" y="1666"/>
                      <a:pt x="1708" y="1666"/>
                    </a:cubicBezTo>
                    <a:cubicBezTo>
                      <a:pt x="1708" y="1616"/>
                      <a:pt x="1708" y="1616"/>
                      <a:pt x="1708" y="1616"/>
                    </a:cubicBezTo>
                    <a:cubicBezTo>
                      <a:pt x="1708" y="1603"/>
                      <a:pt x="1699" y="1594"/>
                      <a:pt x="1686" y="1594"/>
                    </a:cubicBezTo>
                    <a:cubicBezTo>
                      <a:pt x="144" y="1594"/>
                      <a:pt x="144" y="1594"/>
                      <a:pt x="144" y="1594"/>
                    </a:cubicBezTo>
                    <a:cubicBezTo>
                      <a:pt x="131" y="1594"/>
                      <a:pt x="122" y="1603"/>
                      <a:pt x="122" y="1616"/>
                    </a:cubicBezTo>
                    <a:cubicBezTo>
                      <a:pt x="122" y="1666"/>
                      <a:pt x="122" y="1666"/>
                      <a:pt x="122" y="1666"/>
                    </a:cubicBezTo>
                    <a:cubicBezTo>
                      <a:pt x="23" y="1666"/>
                      <a:pt x="23" y="1666"/>
                      <a:pt x="23" y="1666"/>
                    </a:cubicBezTo>
                    <a:cubicBezTo>
                      <a:pt x="11" y="1666"/>
                      <a:pt x="1" y="1675"/>
                      <a:pt x="1" y="1688"/>
                    </a:cubicBezTo>
                    <a:cubicBezTo>
                      <a:pt x="1" y="1820"/>
                      <a:pt x="1" y="1820"/>
                      <a:pt x="1" y="1820"/>
                    </a:cubicBezTo>
                    <a:cubicBezTo>
                      <a:pt x="1" y="1832"/>
                      <a:pt x="11" y="1842"/>
                      <a:pt x="23" y="1842"/>
                    </a:cubicBezTo>
                    <a:cubicBezTo>
                      <a:pt x="1807" y="1842"/>
                      <a:pt x="1807" y="1842"/>
                      <a:pt x="1807" y="1842"/>
                    </a:cubicBezTo>
                    <a:cubicBezTo>
                      <a:pt x="1819" y="1842"/>
                      <a:pt x="1829" y="1832"/>
                      <a:pt x="1829" y="1820"/>
                    </a:cubicBezTo>
                    <a:cubicBezTo>
                      <a:pt x="1829" y="1688"/>
                      <a:pt x="1829" y="1688"/>
                      <a:pt x="1829" y="1688"/>
                    </a:cubicBezTo>
                    <a:cubicBezTo>
                      <a:pt x="1829" y="1675"/>
                      <a:pt x="1819" y="1666"/>
                      <a:pt x="1807" y="1666"/>
                    </a:cubicBezTo>
                    <a:close/>
                    <a:moveTo>
                      <a:pt x="1818" y="441"/>
                    </a:moveTo>
                    <a:cubicBezTo>
                      <a:pt x="925" y="3"/>
                      <a:pt x="925" y="3"/>
                      <a:pt x="925" y="3"/>
                    </a:cubicBezTo>
                    <a:cubicBezTo>
                      <a:pt x="919" y="0"/>
                      <a:pt x="911" y="0"/>
                      <a:pt x="905" y="3"/>
                    </a:cubicBezTo>
                    <a:cubicBezTo>
                      <a:pt x="12" y="441"/>
                      <a:pt x="12" y="441"/>
                      <a:pt x="12" y="441"/>
                    </a:cubicBezTo>
                    <a:cubicBezTo>
                      <a:pt x="5" y="445"/>
                      <a:pt x="0" y="452"/>
                      <a:pt x="0" y="461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5"/>
                      <a:pt x="10" y="555"/>
                      <a:pt x="22" y="555"/>
                    </a:cubicBezTo>
                    <a:cubicBezTo>
                      <a:pt x="169" y="555"/>
                      <a:pt x="169" y="555"/>
                      <a:pt x="169" y="555"/>
                    </a:cubicBezTo>
                    <a:cubicBezTo>
                      <a:pt x="169" y="641"/>
                      <a:pt x="169" y="641"/>
                      <a:pt x="169" y="641"/>
                    </a:cubicBezTo>
                    <a:cubicBezTo>
                      <a:pt x="169" y="654"/>
                      <a:pt x="179" y="663"/>
                      <a:pt x="191" y="663"/>
                    </a:cubicBezTo>
                    <a:cubicBezTo>
                      <a:pt x="1639" y="663"/>
                      <a:pt x="1639" y="663"/>
                      <a:pt x="1639" y="663"/>
                    </a:cubicBezTo>
                    <a:cubicBezTo>
                      <a:pt x="1651" y="663"/>
                      <a:pt x="1661" y="654"/>
                      <a:pt x="1661" y="641"/>
                    </a:cubicBezTo>
                    <a:cubicBezTo>
                      <a:pt x="1661" y="555"/>
                      <a:pt x="1661" y="555"/>
                      <a:pt x="1661" y="555"/>
                    </a:cubicBezTo>
                    <a:cubicBezTo>
                      <a:pt x="1808" y="555"/>
                      <a:pt x="1808" y="555"/>
                      <a:pt x="1808" y="555"/>
                    </a:cubicBezTo>
                    <a:cubicBezTo>
                      <a:pt x="1820" y="555"/>
                      <a:pt x="1830" y="545"/>
                      <a:pt x="1830" y="533"/>
                    </a:cubicBezTo>
                    <a:cubicBezTo>
                      <a:pt x="1830" y="461"/>
                      <a:pt x="1830" y="461"/>
                      <a:pt x="1830" y="461"/>
                    </a:cubicBezTo>
                    <a:cubicBezTo>
                      <a:pt x="1830" y="452"/>
                      <a:pt x="1825" y="445"/>
                      <a:pt x="1818" y="441"/>
                    </a:cubicBezTo>
                    <a:close/>
                    <a:moveTo>
                      <a:pt x="1617" y="619"/>
                    </a:moveTo>
                    <a:cubicBezTo>
                      <a:pt x="213" y="619"/>
                      <a:pt x="213" y="619"/>
                      <a:pt x="213" y="619"/>
                    </a:cubicBezTo>
                    <a:cubicBezTo>
                      <a:pt x="213" y="555"/>
                      <a:pt x="213" y="555"/>
                      <a:pt x="213" y="555"/>
                    </a:cubicBezTo>
                    <a:cubicBezTo>
                      <a:pt x="1617" y="555"/>
                      <a:pt x="1617" y="555"/>
                      <a:pt x="1617" y="555"/>
                    </a:cubicBezTo>
                    <a:lnTo>
                      <a:pt x="1617" y="619"/>
                    </a:lnTo>
                    <a:close/>
                    <a:moveTo>
                      <a:pt x="1786" y="511"/>
                    </a:moveTo>
                    <a:cubicBezTo>
                      <a:pt x="1661" y="511"/>
                      <a:pt x="1661" y="511"/>
                      <a:pt x="1661" y="511"/>
                    </a:cubicBezTo>
                    <a:cubicBezTo>
                      <a:pt x="1617" y="511"/>
                      <a:pt x="1617" y="511"/>
                      <a:pt x="1617" y="511"/>
                    </a:cubicBezTo>
                    <a:cubicBezTo>
                      <a:pt x="213" y="511"/>
                      <a:pt x="213" y="511"/>
                      <a:pt x="213" y="511"/>
                    </a:cubicBezTo>
                    <a:cubicBezTo>
                      <a:pt x="169" y="511"/>
                      <a:pt x="169" y="511"/>
                      <a:pt x="169" y="511"/>
                    </a:cubicBezTo>
                    <a:cubicBezTo>
                      <a:pt x="44" y="511"/>
                      <a:pt x="44" y="511"/>
                      <a:pt x="44" y="511"/>
                    </a:cubicBezTo>
                    <a:cubicBezTo>
                      <a:pt x="44" y="474"/>
                      <a:pt x="44" y="474"/>
                      <a:pt x="44" y="474"/>
                    </a:cubicBezTo>
                    <a:cubicBezTo>
                      <a:pt x="915" y="47"/>
                      <a:pt x="915" y="47"/>
                      <a:pt x="915" y="47"/>
                    </a:cubicBezTo>
                    <a:cubicBezTo>
                      <a:pt x="1786" y="474"/>
                      <a:pt x="1786" y="474"/>
                      <a:pt x="1786" y="474"/>
                    </a:cubicBezTo>
                    <a:lnTo>
                      <a:pt x="1786" y="511"/>
                    </a:lnTo>
                    <a:close/>
                  </a:path>
                </a:pathLst>
              </a:custGeom>
              <a:solidFill>
                <a:srgbClr val="2B4E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0DDD3E89-2479-10D7-355E-6154E0795E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3651" y="2902458"/>
                <a:ext cx="963549" cy="958596"/>
              </a:xfrm>
              <a:custGeom>
                <a:avLst/>
                <a:gdLst>
                  <a:gd name="T0" fmla="*/ 783 w 1350"/>
                  <a:gd name="T1" fmla="*/ 108 h 1342"/>
                  <a:gd name="T2" fmla="*/ 675 w 1350"/>
                  <a:gd name="T3" fmla="*/ 216 h 1342"/>
                  <a:gd name="T4" fmla="*/ 567 w 1350"/>
                  <a:gd name="T5" fmla="*/ 108 h 1342"/>
                  <a:gd name="T6" fmla="*/ 675 w 1350"/>
                  <a:gd name="T7" fmla="*/ 0 h 1342"/>
                  <a:gd name="T8" fmla="*/ 783 w 1350"/>
                  <a:gd name="T9" fmla="*/ 108 h 1342"/>
                  <a:gd name="T10" fmla="*/ 174 w 1350"/>
                  <a:gd name="T11" fmla="*/ 540 h 1342"/>
                  <a:gd name="T12" fmla="*/ 164 w 1350"/>
                  <a:gd name="T13" fmla="*/ 531 h 1342"/>
                  <a:gd name="T14" fmla="*/ 35 w 1350"/>
                  <a:gd name="T15" fmla="*/ 531 h 1342"/>
                  <a:gd name="T16" fmla="*/ 25 w 1350"/>
                  <a:gd name="T17" fmla="*/ 540 h 1342"/>
                  <a:gd name="T18" fmla="*/ 0 w 1350"/>
                  <a:gd name="T19" fmla="*/ 1332 h 1342"/>
                  <a:gd name="T20" fmla="*/ 10 w 1350"/>
                  <a:gd name="T21" fmla="*/ 1342 h 1342"/>
                  <a:gd name="T22" fmla="*/ 188 w 1350"/>
                  <a:gd name="T23" fmla="*/ 1342 h 1342"/>
                  <a:gd name="T24" fmla="*/ 198 w 1350"/>
                  <a:gd name="T25" fmla="*/ 1332 h 1342"/>
                  <a:gd name="T26" fmla="*/ 174 w 1350"/>
                  <a:gd name="T27" fmla="*/ 540 h 1342"/>
                  <a:gd name="T28" fmla="*/ 557 w 1350"/>
                  <a:gd name="T29" fmla="*/ 540 h 1342"/>
                  <a:gd name="T30" fmla="*/ 548 w 1350"/>
                  <a:gd name="T31" fmla="*/ 531 h 1342"/>
                  <a:gd name="T32" fmla="*/ 418 w 1350"/>
                  <a:gd name="T33" fmla="*/ 531 h 1342"/>
                  <a:gd name="T34" fmla="*/ 409 w 1350"/>
                  <a:gd name="T35" fmla="*/ 540 h 1342"/>
                  <a:gd name="T36" fmla="*/ 384 w 1350"/>
                  <a:gd name="T37" fmla="*/ 1332 h 1342"/>
                  <a:gd name="T38" fmla="*/ 394 w 1350"/>
                  <a:gd name="T39" fmla="*/ 1342 h 1342"/>
                  <a:gd name="T40" fmla="*/ 572 w 1350"/>
                  <a:gd name="T41" fmla="*/ 1342 h 1342"/>
                  <a:gd name="T42" fmla="*/ 582 w 1350"/>
                  <a:gd name="T43" fmla="*/ 1332 h 1342"/>
                  <a:gd name="T44" fmla="*/ 557 w 1350"/>
                  <a:gd name="T45" fmla="*/ 540 h 1342"/>
                  <a:gd name="T46" fmla="*/ 941 w 1350"/>
                  <a:gd name="T47" fmla="*/ 540 h 1342"/>
                  <a:gd name="T48" fmla="*/ 932 w 1350"/>
                  <a:gd name="T49" fmla="*/ 531 h 1342"/>
                  <a:gd name="T50" fmla="*/ 802 w 1350"/>
                  <a:gd name="T51" fmla="*/ 531 h 1342"/>
                  <a:gd name="T52" fmla="*/ 793 w 1350"/>
                  <a:gd name="T53" fmla="*/ 540 h 1342"/>
                  <a:gd name="T54" fmla="*/ 768 w 1350"/>
                  <a:gd name="T55" fmla="*/ 1332 h 1342"/>
                  <a:gd name="T56" fmla="*/ 778 w 1350"/>
                  <a:gd name="T57" fmla="*/ 1342 h 1342"/>
                  <a:gd name="T58" fmla="*/ 956 w 1350"/>
                  <a:gd name="T59" fmla="*/ 1342 h 1342"/>
                  <a:gd name="T60" fmla="*/ 966 w 1350"/>
                  <a:gd name="T61" fmla="*/ 1332 h 1342"/>
                  <a:gd name="T62" fmla="*/ 941 w 1350"/>
                  <a:gd name="T63" fmla="*/ 540 h 1342"/>
                  <a:gd name="T64" fmla="*/ 1325 w 1350"/>
                  <a:gd name="T65" fmla="*/ 540 h 1342"/>
                  <a:gd name="T66" fmla="*/ 1315 w 1350"/>
                  <a:gd name="T67" fmla="*/ 531 h 1342"/>
                  <a:gd name="T68" fmla="*/ 1186 w 1350"/>
                  <a:gd name="T69" fmla="*/ 531 h 1342"/>
                  <a:gd name="T70" fmla="*/ 1176 w 1350"/>
                  <a:gd name="T71" fmla="*/ 540 h 1342"/>
                  <a:gd name="T72" fmla="*/ 1152 w 1350"/>
                  <a:gd name="T73" fmla="*/ 1332 h 1342"/>
                  <a:gd name="T74" fmla="*/ 1162 w 1350"/>
                  <a:gd name="T75" fmla="*/ 1342 h 1342"/>
                  <a:gd name="T76" fmla="*/ 1340 w 1350"/>
                  <a:gd name="T77" fmla="*/ 1342 h 1342"/>
                  <a:gd name="T78" fmla="*/ 1350 w 1350"/>
                  <a:gd name="T79" fmla="*/ 1332 h 1342"/>
                  <a:gd name="T80" fmla="*/ 1325 w 1350"/>
                  <a:gd name="T81" fmla="*/ 540 h 1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0" h="1342">
                    <a:moveTo>
                      <a:pt x="783" y="108"/>
                    </a:moveTo>
                    <a:cubicBezTo>
                      <a:pt x="783" y="167"/>
                      <a:pt x="735" y="216"/>
                      <a:pt x="675" y="216"/>
                    </a:cubicBezTo>
                    <a:cubicBezTo>
                      <a:pt x="615" y="216"/>
                      <a:pt x="567" y="167"/>
                      <a:pt x="567" y="108"/>
                    </a:cubicBezTo>
                    <a:cubicBezTo>
                      <a:pt x="567" y="48"/>
                      <a:pt x="615" y="0"/>
                      <a:pt x="675" y="0"/>
                    </a:cubicBezTo>
                    <a:cubicBezTo>
                      <a:pt x="735" y="0"/>
                      <a:pt x="783" y="48"/>
                      <a:pt x="783" y="108"/>
                    </a:cubicBezTo>
                    <a:close/>
                    <a:moveTo>
                      <a:pt x="174" y="540"/>
                    </a:moveTo>
                    <a:cubicBezTo>
                      <a:pt x="174" y="535"/>
                      <a:pt x="169" y="531"/>
                      <a:pt x="164" y="531"/>
                    </a:cubicBezTo>
                    <a:cubicBezTo>
                      <a:pt x="35" y="531"/>
                      <a:pt x="35" y="531"/>
                      <a:pt x="35" y="531"/>
                    </a:cubicBezTo>
                    <a:cubicBezTo>
                      <a:pt x="29" y="531"/>
                      <a:pt x="25" y="535"/>
                      <a:pt x="25" y="540"/>
                    </a:cubicBezTo>
                    <a:cubicBezTo>
                      <a:pt x="0" y="1332"/>
                      <a:pt x="0" y="1332"/>
                      <a:pt x="0" y="1332"/>
                    </a:cubicBezTo>
                    <a:cubicBezTo>
                      <a:pt x="0" y="1337"/>
                      <a:pt x="5" y="1342"/>
                      <a:pt x="10" y="1342"/>
                    </a:cubicBezTo>
                    <a:cubicBezTo>
                      <a:pt x="188" y="1342"/>
                      <a:pt x="188" y="1342"/>
                      <a:pt x="188" y="1342"/>
                    </a:cubicBezTo>
                    <a:cubicBezTo>
                      <a:pt x="194" y="1342"/>
                      <a:pt x="198" y="1337"/>
                      <a:pt x="198" y="1332"/>
                    </a:cubicBezTo>
                    <a:lnTo>
                      <a:pt x="174" y="540"/>
                    </a:lnTo>
                    <a:close/>
                    <a:moveTo>
                      <a:pt x="557" y="540"/>
                    </a:moveTo>
                    <a:cubicBezTo>
                      <a:pt x="557" y="535"/>
                      <a:pt x="553" y="531"/>
                      <a:pt x="548" y="531"/>
                    </a:cubicBezTo>
                    <a:cubicBezTo>
                      <a:pt x="418" y="531"/>
                      <a:pt x="418" y="531"/>
                      <a:pt x="418" y="531"/>
                    </a:cubicBezTo>
                    <a:cubicBezTo>
                      <a:pt x="413" y="531"/>
                      <a:pt x="409" y="535"/>
                      <a:pt x="409" y="540"/>
                    </a:cubicBezTo>
                    <a:cubicBezTo>
                      <a:pt x="384" y="1332"/>
                      <a:pt x="384" y="1332"/>
                      <a:pt x="384" y="1332"/>
                    </a:cubicBezTo>
                    <a:cubicBezTo>
                      <a:pt x="384" y="1337"/>
                      <a:pt x="389" y="1342"/>
                      <a:pt x="394" y="1342"/>
                    </a:cubicBezTo>
                    <a:cubicBezTo>
                      <a:pt x="572" y="1342"/>
                      <a:pt x="572" y="1342"/>
                      <a:pt x="572" y="1342"/>
                    </a:cubicBezTo>
                    <a:cubicBezTo>
                      <a:pt x="578" y="1342"/>
                      <a:pt x="582" y="1337"/>
                      <a:pt x="582" y="1332"/>
                    </a:cubicBezTo>
                    <a:lnTo>
                      <a:pt x="557" y="540"/>
                    </a:lnTo>
                    <a:close/>
                    <a:moveTo>
                      <a:pt x="941" y="540"/>
                    </a:moveTo>
                    <a:cubicBezTo>
                      <a:pt x="941" y="535"/>
                      <a:pt x="937" y="531"/>
                      <a:pt x="932" y="531"/>
                    </a:cubicBezTo>
                    <a:cubicBezTo>
                      <a:pt x="802" y="531"/>
                      <a:pt x="802" y="531"/>
                      <a:pt x="802" y="531"/>
                    </a:cubicBezTo>
                    <a:cubicBezTo>
                      <a:pt x="797" y="531"/>
                      <a:pt x="793" y="535"/>
                      <a:pt x="793" y="540"/>
                    </a:cubicBezTo>
                    <a:cubicBezTo>
                      <a:pt x="768" y="1332"/>
                      <a:pt x="768" y="1332"/>
                      <a:pt x="768" y="1332"/>
                    </a:cubicBezTo>
                    <a:cubicBezTo>
                      <a:pt x="768" y="1337"/>
                      <a:pt x="772" y="1342"/>
                      <a:pt x="778" y="1342"/>
                    </a:cubicBezTo>
                    <a:cubicBezTo>
                      <a:pt x="956" y="1342"/>
                      <a:pt x="956" y="1342"/>
                      <a:pt x="956" y="1342"/>
                    </a:cubicBezTo>
                    <a:cubicBezTo>
                      <a:pt x="961" y="1342"/>
                      <a:pt x="966" y="1337"/>
                      <a:pt x="966" y="1332"/>
                    </a:cubicBezTo>
                    <a:lnTo>
                      <a:pt x="941" y="540"/>
                    </a:lnTo>
                    <a:close/>
                    <a:moveTo>
                      <a:pt x="1325" y="540"/>
                    </a:moveTo>
                    <a:cubicBezTo>
                      <a:pt x="1325" y="535"/>
                      <a:pt x="1321" y="531"/>
                      <a:pt x="1315" y="531"/>
                    </a:cubicBezTo>
                    <a:cubicBezTo>
                      <a:pt x="1186" y="531"/>
                      <a:pt x="1186" y="531"/>
                      <a:pt x="1186" y="531"/>
                    </a:cubicBezTo>
                    <a:cubicBezTo>
                      <a:pt x="1181" y="531"/>
                      <a:pt x="1176" y="535"/>
                      <a:pt x="1176" y="540"/>
                    </a:cubicBezTo>
                    <a:cubicBezTo>
                      <a:pt x="1152" y="1332"/>
                      <a:pt x="1152" y="1332"/>
                      <a:pt x="1152" y="1332"/>
                    </a:cubicBezTo>
                    <a:cubicBezTo>
                      <a:pt x="1152" y="1337"/>
                      <a:pt x="1156" y="1342"/>
                      <a:pt x="1162" y="1342"/>
                    </a:cubicBezTo>
                    <a:cubicBezTo>
                      <a:pt x="1340" y="1342"/>
                      <a:pt x="1340" y="1342"/>
                      <a:pt x="1340" y="1342"/>
                    </a:cubicBezTo>
                    <a:cubicBezTo>
                      <a:pt x="1345" y="1342"/>
                      <a:pt x="1350" y="1337"/>
                      <a:pt x="1350" y="1332"/>
                    </a:cubicBezTo>
                    <a:lnTo>
                      <a:pt x="1325" y="540"/>
                    </a:lnTo>
                    <a:close/>
                  </a:path>
                </a:pathLst>
              </a:custGeom>
              <a:solidFill>
                <a:srgbClr val="539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2" name="bcgIcons_Business optimization ">
            <a:extLst>
              <a:ext uri="{FF2B5EF4-FFF2-40B4-BE49-F238E27FC236}">
                <a16:creationId xmlns:a16="http://schemas.microsoft.com/office/drawing/2014/main" id="{A3943A35-8293-6A16-916C-37C631322DB4}"/>
              </a:ext>
            </a:extLst>
          </p:cNvPr>
          <p:cNvGrpSpPr>
            <a:grpSpLocks noChangeAspect="1"/>
          </p:cNvGrpSpPr>
          <p:nvPr/>
        </p:nvGrpSpPr>
        <p:grpSpPr>
          <a:xfrm>
            <a:off x="11724433" y="1076084"/>
            <a:ext cx="331246" cy="331246"/>
            <a:chOff x="5273675" y="2606675"/>
            <a:chExt cx="1644650" cy="1644650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945BC03A-591B-8A45-8601-E70CE8FAF63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CDF7F2D-F009-E215-7043-F804243A09CA}"/>
                </a:ext>
              </a:extLst>
            </p:cNvPr>
            <p:cNvGrpSpPr/>
            <p:nvPr/>
          </p:nvGrpSpPr>
          <p:grpSpPr>
            <a:xfrm>
              <a:off x="5448499" y="2803525"/>
              <a:ext cx="1295201" cy="1277938"/>
              <a:chOff x="5448499" y="2803525"/>
              <a:chExt cx="1295201" cy="1277938"/>
            </a:xfrm>
          </p:grpSpPr>
          <p:sp>
            <p:nvSpPr>
              <p:cNvPr id="45" name="Freeform 10">
                <a:extLst>
                  <a:ext uri="{FF2B5EF4-FFF2-40B4-BE49-F238E27FC236}">
                    <a16:creationId xmlns:a16="http://schemas.microsoft.com/office/drawing/2014/main" id="{A538A600-7B2C-DD13-1B67-E95686BD2308}"/>
                  </a:ext>
                </a:extLst>
              </p:cNvPr>
              <p:cNvSpPr/>
              <p:nvPr/>
            </p:nvSpPr>
            <p:spPr bwMode="auto">
              <a:xfrm>
                <a:off x="5448499" y="3108325"/>
                <a:ext cx="1295201" cy="973138"/>
              </a:xfrm>
              <a:custGeom>
                <a:avLst/>
                <a:gdLst>
                  <a:gd name="connsiteX0" fmla="*/ 848020 w 1295201"/>
                  <a:gd name="connsiteY0" fmla="*/ 647700 h 973138"/>
                  <a:gd name="connsiteX1" fmla="*/ 874350 w 1295201"/>
                  <a:gd name="connsiteY1" fmla="*/ 647700 h 973138"/>
                  <a:gd name="connsiteX2" fmla="*/ 874350 w 1295201"/>
                  <a:gd name="connsiteY2" fmla="*/ 666232 h 973138"/>
                  <a:gd name="connsiteX3" fmla="*/ 907086 w 1295201"/>
                  <a:gd name="connsiteY3" fmla="*/ 676210 h 973138"/>
                  <a:gd name="connsiteX4" fmla="*/ 897834 w 1295201"/>
                  <a:gd name="connsiteY4" fmla="*/ 701157 h 973138"/>
                  <a:gd name="connsiteX5" fmla="*/ 863676 w 1295201"/>
                  <a:gd name="connsiteY5" fmla="*/ 689753 h 973138"/>
                  <a:gd name="connsiteX6" fmla="*/ 847308 w 1295201"/>
                  <a:gd name="connsiteY6" fmla="*/ 695455 h 973138"/>
                  <a:gd name="connsiteX7" fmla="*/ 841615 w 1295201"/>
                  <a:gd name="connsiteY7" fmla="*/ 708997 h 973138"/>
                  <a:gd name="connsiteX8" fmla="*/ 873639 w 1295201"/>
                  <a:gd name="connsiteY8" fmla="*/ 738220 h 973138"/>
                  <a:gd name="connsiteX9" fmla="*/ 899258 w 1295201"/>
                  <a:gd name="connsiteY9" fmla="*/ 753188 h 973138"/>
                  <a:gd name="connsiteX10" fmla="*/ 909932 w 1295201"/>
                  <a:gd name="connsiteY10" fmla="*/ 768868 h 973138"/>
                  <a:gd name="connsiteX11" fmla="*/ 914202 w 1295201"/>
                  <a:gd name="connsiteY11" fmla="*/ 788113 h 973138"/>
                  <a:gd name="connsiteX12" fmla="*/ 904239 w 1295201"/>
                  <a:gd name="connsiteY12" fmla="*/ 815910 h 973138"/>
                  <a:gd name="connsiteX13" fmla="*/ 874350 w 1295201"/>
                  <a:gd name="connsiteY13" fmla="*/ 831591 h 973138"/>
                  <a:gd name="connsiteX14" fmla="*/ 874350 w 1295201"/>
                  <a:gd name="connsiteY14" fmla="*/ 857250 h 973138"/>
                  <a:gd name="connsiteX15" fmla="*/ 848020 w 1295201"/>
                  <a:gd name="connsiteY15" fmla="*/ 857250 h 973138"/>
                  <a:gd name="connsiteX16" fmla="*/ 848020 w 1295201"/>
                  <a:gd name="connsiteY16" fmla="*/ 833729 h 973138"/>
                  <a:gd name="connsiteX17" fmla="*/ 811014 w 1295201"/>
                  <a:gd name="connsiteY17" fmla="*/ 822325 h 973138"/>
                  <a:gd name="connsiteX18" fmla="*/ 822401 w 1295201"/>
                  <a:gd name="connsiteY18" fmla="*/ 795953 h 973138"/>
                  <a:gd name="connsiteX19" fmla="*/ 857983 w 1295201"/>
                  <a:gd name="connsiteY19" fmla="*/ 808070 h 973138"/>
                  <a:gd name="connsiteX20" fmla="*/ 884313 w 1295201"/>
                  <a:gd name="connsiteY20" fmla="*/ 790251 h 973138"/>
                  <a:gd name="connsiteX21" fmla="*/ 877197 w 1295201"/>
                  <a:gd name="connsiteY21" fmla="*/ 774571 h 973138"/>
                  <a:gd name="connsiteX22" fmla="*/ 851578 w 1295201"/>
                  <a:gd name="connsiteY22" fmla="*/ 757464 h 973138"/>
                  <a:gd name="connsiteX23" fmla="*/ 825959 w 1295201"/>
                  <a:gd name="connsiteY23" fmla="*/ 742497 h 973138"/>
                  <a:gd name="connsiteX24" fmla="*/ 815284 w 1295201"/>
                  <a:gd name="connsiteY24" fmla="*/ 728241 h 973138"/>
                  <a:gd name="connsiteX25" fmla="*/ 811726 w 1295201"/>
                  <a:gd name="connsiteY25" fmla="*/ 709710 h 973138"/>
                  <a:gd name="connsiteX26" fmla="*/ 821689 w 1295201"/>
                  <a:gd name="connsiteY26" fmla="*/ 683338 h 973138"/>
                  <a:gd name="connsiteX27" fmla="*/ 848020 w 1295201"/>
                  <a:gd name="connsiteY27" fmla="*/ 667657 h 973138"/>
                  <a:gd name="connsiteX28" fmla="*/ 848020 w 1295201"/>
                  <a:gd name="connsiteY28" fmla="*/ 647700 h 973138"/>
                  <a:gd name="connsiteX29" fmla="*/ 463351 w 1295201"/>
                  <a:gd name="connsiteY29" fmla="*/ 565150 h 973138"/>
                  <a:gd name="connsiteX30" fmla="*/ 463351 w 1295201"/>
                  <a:gd name="connsiteY30" fmla="*/ 941388 h 973138"/>
                  <a:gd name="connsiteX31" fmla="*/ 1263451 w 1295201"/>
                  <a:gd name="connsiteY31" fmla="*/ 941388 h 973138"/>
                  <a:gd name="connsiteX32" fmla="*/ 1263451 w 1295201"/>
                  <a:gd name="connsiteY32" fmla="*/ 565150 h 973138"/>
                  <a:gd name="connsiteX33" fmla="*/ 463351 w 1295201"/>
                  <a:gd name="connsiteY33" fmla="*/ 565150 h 973138"/>
                  <a:gd name="connsiteX34" fmla="*/ 447303 w 1295201"/>
                  <a:gd name="connsiteY34" fmla="*/ 533400 h 973138"/>
                  <a:gd name="connsiteX35" fmla="*/ 1279499 w 1295201"/>
                  <a:gd name="connsiteY35" fmla="*/ 533400 h 973138"/>
                  <a:gd name="connsiteX36" fmla="*/ 1295201 w 1295201"/>
                  <a:gd name="connsiteY36" fmla="*/ 548440 h 973138"/>
                  <a:gd name="connsiteX37" fmla="*/ 1295201 w 1295201"/>
                  <a:gd name="connsiteY37" fmla="*/ 957382 h 973138"/>
                  <a:gd name="connsiteX38" fmla="*/ 1279499 w 1295201"/>
                  <a:gd name="connsiteY38" fmla="*/ 973138 h 973138"/>
                  <a:gd name="connsiteX39" fmla="*/ 447303 w 1295201"/>
                  <a:gd name="connsiteY39" fmla="*/ 973138 h 973138"/>
                  <a:gd name="connsiteX40" fmla="*/ 431601 w 1295201"/>
                  <a:gd name="connsiteY40" fmla="*/ 957382 h 973138"/>
                  <a:gd name="connsiteX41" fmla="*/ 431601 w 1295201"/>
                  <a:gd name="connsiteY41" fmla="*/ 548440 h 973138"/>
                  <a:gd name="connsiteX42" fmla="*/ 447303 w 1295201"/>
                  <a:gd name="connsiteY42" fmla="*/ 533400 h 973138"/>
                  <a:gd name="connsiteX43" fmla="*/ 98208 w 1295201"/>
                  <a:gd name="connsiteY43" fmla="*/ 284163 h 973138"/>
                  <a:gd name="connsiteX44" fmla="*/ 111778 w 1295201"/>
                  <a:gd name="connsiteY44" fmla="*/ 297725 h 973138"/>
                  <a:gd name="connsiteX45" fmla="*/ 190345 w 1295201"/>
                  <a:gd name="connsiteY45" fmla="*/ 376243 h 973138"/>
                  <a:gd name="connsiteX46" fmla="*/ 193202 w 1295201"/>
                  <a:gd name="connsiteY46" fmla="*/ 401939 h 973138"/>
                  <a:gd name="connsiteX47" fmla="*/ 178203 w 1295201"/>
                  <a:gd name="connsiteY47" fmla="*/ 409077 h 973138"/>
                  <a:gd name="connsiteX48" fmla="*/ 166775 w 1295201"/>
                  <a:gd name="connsiteY48" fmla="*/ 405508 h 973138"/>
                  <a:gd name="connsiteX49" fmla="*/ 117492 w 1295201"/>
                  <a:gd name="connsiteY49" fmla="*/ 356256 h 973138"/>
                  <a:gd name="connsiteX50" fmla="*/ 117492 w 1295201"/>
                  <a:gd name="connsiteY50" fmla="*/ 735282 h 973138"/>
                  <a:gd name="connsiteX51" fmla="*/ 400331 w 1295201"/>
                  <a:gd name="connsiteY51" fmla="*/ 735282 h 973138"/>
                  <a:gd name="connsiteX52" fmla="*/ 418902 w 1295201"/>
                  <a:gd name="connsiteY52" fmla="*/ 754554 h 973138"/>
                  <a:gd name="connsiteX53" fmla="*/ 400331 w 1295201"/>
                  <a:gd name="connsiteY53" fmla="*/ 773113 h 973138"/>
                  <a:gd name="connsiteX54" fmla="*/ 79637 w 1295201"/>
                  <a:gd name="connsiteY54" fmla="*/ 773113 h 973138"/>
                  <a:gd name="connsiteX55" fmla="*/ 79637 w 1295201"/>
                  <a:gd name="connsiteY55" fmla="*/ 356256 h 973138"/>
                  <a:gd name="connsiteX56" fmla="*/ 31783 w 1295201"/>
                  <a:gd name="connsiteY56" fmla="*/ 403367 h 973138"/>
                  <a:gd name="connsiteX57" fmla="*/ 5356 w 1295201"/>
                  <a:gd name="connsiteY57" fmla="*/ 403367 h 973138"/>
                  <a:gd name="connsiteX58" fmla="*/ 5356 w 1295201"/>
                  <a:gd name="connsiteY58" fmla="*/ 376957 h 973138"/>
                  <a:gd name="connsiteX59" fmla="*/ 98208 w 1295201"/>
                  <a:gd name="connsiteY59" fmla="*/ 284163 h 973138"/>
                  <a:gd name="connsiteX60" fmla="*/ 737502 w 1295201"/>
                  <a:gd name="connsiteY60" fmla="*/ 0 h 973138"/>
                  <a:gd name="connsiteX61" fmla="*/ 1058075 w 1295201"/>
                  <a:gd name="connsiteY61" fmla="*/ 0 h 973138"/>
                  <a:gd name="connsiteX62" fmla="*/ 1058075 w 1295201"/>
                  <a:gd name="connsiteY62" fmla="*/ 412272 h 973138"/>
                  <a:gd name="connsiteX63" fmla="*/ 1104483 w 1295201"/>
                  <a:gd name="connsiteY63" fmla="*/ 366701 h 973138"/>
                  <a:gd name="connsiteX64" fmla="*/ 1130900 w 1295201"/>
                  <a:gd name="connsiteY64" fmla="*/ 367413 h 973138"/>
                  <a:gd name="connsiteX65" fmla="*/ 1130900 w 1295201"/>
                  <a:gd name="connsiteY65" fmla="*/ 393759 h 973138"/>
                  <a:gd name="connsiteX66" fmla="*/ 1055219 w 1295201"/>
                  <a:gd name="connsiteY66" fmla="*/ 467811 h 973138"/>
                  <a:gd name="connsiteX67" fmla="*/ 1049507 w 1295201"/>
                  <a:gd name="connsiteY67" fmla="*/ 473508 h 973138"/>
                  <a:gd name="connsiteX68" fmla="*/ 1038797 w 1295201"/>
                  <a:gd name="connsiteY68" fmla="*/ 484188 h 973138"/>
                  <a:gd name="connsiteX69" fmla="*/ 1025232 w 1295201"/>
                  <a:gd name="connsiteY69" fmla="*/ 470659 h 973138"/>
                  <a:gd name="connsiteX70" fmla="*/ 948123 w 1295201"/>
                  <a:gd name="connsiteY70" fmla="*/ 394471 h 973138"/>
                  <a:gd name="connsiteX71" fmla="*/ 944554 w 1295201"/>
                  <a:gd name="connsiteY71" fmla="*/ 368837 h 973138"/>
                  <a:gd name="connsiteX72" fmla="*/ 970970 w 1295201"/>
                  <a:gd name="connsiteY72" fmla="*/ 365277 h 973138"/>
                  <a:gd name="connsiteX73" fmla="*/ 1020948 w 1295201"/>
                  <a:gd name="connsiteY73" fmla="*/ 413696 h 973138"/>
                  <a:gd name="connsiteX74" fmla="*/ 1020948 w 1295201"/>
                  <a:gd name="connsiteY74" fmla="*/ 37026 h 973138"/>
                  <a:gd name="connsiteX75" fmla="*/ 737502 w 1295201"/>
                  <a:gd name="connsiteY75" fmla="*/ 37026 h 973138"/>
                  <a:gd name="connsiteX76" fmla="*/ 718939 w 1295201"/>
                  <a:gd name="connsiteY76" fmla="*/ 18513 h 973138"/>
                  <a:gd name="connsiteX77" fmla="*/ 737502 w 1295201"/>
                  <a:gd name="connsiteY77" fmla="*/ 0 h 973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95201" h="973138">
                    <a:moveTo>
                      <a:pt x="848020" y="647700"/>
                    </a:moveTo>
                    <a:cubicBezTo>
                      <a:pt x="874350" y="647700"/>
                      <a:pt x="874350" y="647700"/>
                      <a:pt x="874350" y="647700"/>
                    </a:cubicBezTo>
                    <a:cubicBezTo>
                      <a:pt x="874350" y="666232"/>
                      <a:pt x="874350" y="666232"/>
                      <a:pt x="874350" y="666232"/>
                    </a:cubicBezTo>
                    <a:cubicBezTo>
                      <a:pt x="889295" y="667657"/>
                      <a:pt x="899969" y="671221"/>
                      <a:pt x="907086" y="676210"/>
                    </a:cubicBezTo>
                    <a:cubicBezTo>
                      <a:pt x="897834" y="701157"/>
                      <a:pt x="897834" y="701157"/>
                      <a:pt x="897834" y="701157"/>
                    </a:cubicBezTo>
                    <a:cubicBezTo>
                      <a:pt x="886448" y="694029"/>
                      <a:pt x="875062" y="689753"/>
                      <a:pt x="863676" y="689753"/>
                    </a:cubicBezTo>
                    <a:cubicBezTo>
                      <a:pt x="856559" y="689753"/>
                      <a:pt x="851578" y="691891"/>
                      <a:pt x="847308" y="695455"/>
                    </a:cubicBezTo>
                    <a:cubicBezTo>
                      <a:pt x="843750" y="699018"/>
                      <a:pt x="841615" y="704008"/>
                      <a:pt x="841615" y="708997"/>
                    </a:cubicBezTo>
                    <a:cubicBezTo>
                      <a:pt x="841615" y="718976"/>
                      <a:pt x="852289" y="728241"/>
                      <a:pt x="873639" y="738220"/>
                    </a:cubicBezTo>
                    <a:cubicBezTo>
                      <a:pt x="885737" y="743209"/>
                      <a:pt x="894276" y="748199"/>
                      <a:pt x="899258" y="753188"/>
                    </a:cubicBezTo>
                    <a:cubicBezTo>
                      <a:pt x="904239" y="757464"/>
                      <a:pt x="907086" y="763166"/>
                      <a:pt x="909932" y="768868"/>
                    </a:cubicBezTo>
                    <a:cubicBezTo>
                      <a:pt x="912779" y="775283"/>
                      <a:pt x="914202" y="780985"/>
                      <a:pt x="914202" y="788113"/>
                    </a:cubicBezTo>
                    <a:cubicBezTo>
                      <a:pt x="914202" y="798804"/>
                      <a:pt x="910644" y="808070"/>
                      <a:pt x="904239" y="815910"/>
                    </a:cubicBezTo>
                    <a:cubicBezTo>
                      <a:pt x="897123" y="823038"/>
                      <a:pt x="887160" y="828740"/>
                      <a:pt x="874350" y="831591"/>
                    </a:cubicBezTo>
                    <a:cubicBezTo>
                      <a:pt x="874350" y="857250"/>
                      <a:pt x="874350" y="857250"/>
                      <a:pt x="874350" y="857250"/>
                    </a:cubicBezTo>
                    <a:cubicBezTo>
                      <a:pt x="848020" y="857250"/>
                      <a:pt x="848020" y="857250"/>
                      <a:pt x="848020" y="857250"/>
                    </a:cubicBezTo>
                    <a:cubicBezTo>
                      <a:pt x="848020" y="833729"/>
                      <a:pt x="848020" y="833729"/>
                      <a:pt x="848020" y="833729"/>
                    </a:cubicBezTo>
                    <a:cubicBezTo>
                      <a:pt x="835210" y="832304"/>
                      <a:pt x="822401" y="828740"/>
                      <a:pt x="811014" y="822325"/>
                    </a:cubicBezTo>
                    <a:cubicBezTo>
                      <a:pt x="822401" y="795953"/>
                      <a:pt x="822401" y="795953"/>
                      <a:pt x="822401" y="795953"/>
                    </a:cubicBezTo>
                    <a:cubicBezTo>
                      <a:pt x="834498" y="804506"/>
                      <a:pt x="845885" y="808070"/>
                      <a:pt x="857983" y="808070"/>
                    </a:cubicBezTo>
                    <a:cubicBezTo>
                      <a:pt x="875062" y="808070"/>
                      <a:pt x="884313" y="802368"/>
                      <a:pt x="884313" y="790251"/>
                    </a:cubicBezTo>
                    <a:cubicBezTo>
                      <a:pt x="884313" y="784549"/>
                      <a:pt x="882178" y="778847"/>
                      <a:pt x="877197" y="774571"/>
                    </a:cubicBezTo>
                    <a:cubicBezTo>
                      <a:pt x="872927" y="769581"/>
                      <a:pt x="864387" y="763879"/>
                      <a:pt x="851578" y="757464"/>
                    </a:cubicBezTo>
                    <a:cubicBezTo>
                      <a:pt x="838768" y="751050"/>
                      <a:pt x="830229" y="746060"/>
                      <a:pt x="825959" y="742497"/>
                    </a:cubicBezTo>
                    <a:cubicBezTo>
                      <a:pt x="820977" y="738220"/>
                      <a:pt x="817419" y="733231"/>
                      <a:pt x="815284" y="728241"/>
                    </a:cubicBezTo>
                    <a:cubicBezTo>
                      <a:pt x="812438" y="722539"/>
                      <a:pt x="811726" y="716125"/>
                      <a:pt x="811726" y="709710"/>
                    </a:cubicBezTo>
                    <a:cubicBezTo>
                      <a:pt x="811726" y="699018"/>
                      <a:pt x="814572" y="690465"/>
                      <a:pt x="821689" y="683338"/>
                    </a:cubicBezTo>
                    <a:cubicBezTo>
                      <a:pt x="828094" y="675498"/>
                      <a:pt x="836633" y="669796"/>
                      <a:pt x="848020" y="667657"/>
                    </a:cubicBezTo>
                    <a:cubicBezTo>
                      <a:pt x="848020" y="647700"/>
                      <a:pt x="848020" y="647700"/>
                      <a:pt x="848020" y="647700"/>
                    </a:cubicBezTo>
                    <a:close/>
                    <a:moveTo>
                      <a:pt x="463351" y="565150"/>
                    </a:moveTo>
                    <a:cubicBezTo>
                      <a:pt x="463351" y="565150"/>
                      <a:pt x="463351" y="565150"/>
                      <a:pt x="463351" y="941388"/>
                    </a:cubicBezTo>
                    <a:cubicBezTo>
                      <a:pt x="463351" y="941388"/>
                      <a:pt x="463351" y="941388"/>
                      <a:pt x="1263451" y="941388"/>
                    </a:cubicBezTo>
                    <a:cubicBezTo>
                      <a:pt x="1263451" y="941388"/>
                      <a:pt x="1263451" y="941388"/>
                      <a:pt x="1263451" y="565150"/>
                    </a:cubicBezTo>
                    <a:cubicBezTo>
                      <a:pt x="1263451" y="565150"/>
                      <a:pt x="1263451" y="565150"/>
                      <a:pt x="463351" y="565150"/>
                    </a:cubicBezTo>
                    <a:close/>
                    <a:moveTo>
                      <a:pt x="447303" y="533400"/>
                    </a:moveTo>
                    <a:cubicBezTo>
                      <a:pt x="1279499" y="533400"/>
                      <a:pt x="1279499" y="533400"/>
                      <a:pt x="1279499" y="533400"/>
                    </a:cubicBezTo>
                    <a:cubicBezTo>
                      <a:pt x="1288064" y="533400"/>
                      <a:pt x="1295201" y="539846"/>
                      <a:pt x="1295201" y="548440"/>
                    </a:cubicBezTo>
                    <a:cubicBezTo>
                      <a:pt x="1295201" y="957382"/>
                      <a:pt x="1295201" y="957382"/>
                      <a:pt x="1295201" y="957382"/>
                    </a:cubicBezTo>
                    <a:cubicBezTo>
                      <a:pt x="1295201" y="965976"/>
                      <a:pt x="1288064" y="973138"/>
                      <a:pt x="1279499" y="973138"/>
                    </a:cubicBezTo>
                    <a:cubicBezTo>
                      <a:pt x="447303" y="973138"/>
                      <a:pt x="447303" y="973138"/>
                      <a:pt x="447303" y="973138"/>
                    </a:cubicBezTo>
                    <a:cubicBezTo>
                      <a:pt x="438738" y="973138"/>
                      <a:pt x="431601" y="965976"/>
                      <a:pt x="431601" y="957382"/>
                    </a:cubicBezTo>
                    <a:cubicBezTo>
                      <a:pt x="431601" y="548440"/>
                      <a:pt x="431601" y="548440"/>
                      <a:pt x="431601" y="548440"/>
                    </a:cubicBezTo>
                    <a:cubicBezTo>
                      <a:pt x="431601" y="539846"/>
                      <a:pt x="438738" y="533400"/>
                      <a:pt x="447303" y="533400"/>
                    </a:cubicBezTo>
                    <a:close/>
                    <a:moveTo>
                      <a:pt x="98208" y="284163"/>
                    </a:moveTo>
                    <a:cubicBezTo>
                      <a:pt x="98208" y="284163"/>
                      <a:pt x="98208" y="284163"/>
                      <a:pt x="111778" y="297725"/>
                    </a:cubicBezTo>
                    <a:cubicBezTo>
                      <a:pt x="139633" y="325563"/>
                      <a:pt x="184631" y="371246"/>
                      <a:pt x="190345" y="376243"/>
                    </a:cubicBezTo>
                    <a:cubicBezTo>
                      <a:pt x="197487" y="382667"/>
                      <a:pt x="198916" y="393374"/>
                      <a:pt x="193202" y="401939"/>
                    </a:cubicBezTo>
                    <a:cubicBezTo>
                      <a:pt x="189630" y="406222"/>
                      <a:pt x="183916" y="409077"/>
                      <a:pt x="178203" y="409077"/>
                    </a:cubicBezTo>
                    <a:cubicBezTo>
                      <a:pt x="173917" y="409077"/>
                      <a:pt x="170346" y="407650"/>
                      <a:pt x="166775" y="405508"/>
                    </a:cubicBezTo>
                    <a:cubicBezTo>
                      <a:pt x="165346" y="404795"/>
                      <a:pt x="163203" y="402653"/>
                      <a:pt x="117492" y="356256"/>
                    </a:cubicBezTo>
                    <a:cubicBezTo>
                      <a:pt x="117492" y="356256"/>
                      <a:pt x="117492" y="356256"/>
                      <a:pt x="117492" y="735282"/>
                    </a:cubicBezTo>
                    <a:cubicBezTo>
                      <a:pt x="117492" y="735282"/>
                      <a:pt x="117492" y="735282"/>
                      <a:pt x="400331" y="735282"/>
                    </a:cubicBezTo>
                    <a:cubicBezTo>
                      <a:pt x="411045" y="735282"/>
                      <a:pt x="418902" y="743848"/>
                      <a:pt x="418902" y="754554"/>
                    </a:cubicBezTo>
                    <a:cubicBezTo>
                      <a:pt x="418902" y="764548"/>
                      <a:pt x="411045" y="773113"/>
                      <a:pt x="400331" y="773113"/>
                    </a:cubicBezTo>
                    <a:cubicBezTo>
                      <a:pt x="400331" y="773113"/>
                      <a:pt x="400331" y="773113"/>
                      <a:pt x="79637" y="773113"/>
                    </a:cubicBezTo>
                    <a:cubicBezTo>
                      <a:pt x="79637" y="773113"/>
                      <a:pt x="79637" y="773113"/>
                      <a:pt x="79637" y="356256"/>
                    </a:cubicBezTo>
                    <a:cubicBezTo>
                      <a:pt x="79637" y="356256"/>
                      <a:pt x="79637" y="356256"/>
                      <a:pt x="31783" y="403367"/>
                    </a:cubicBezTo>
                    <a:cubicBezTo>
                      <a:pt x="24641" y="411219"/>
                      <a:pt x="12499" y="411219"/>
                      <a:pt x="5356" y="403367"/>
                    </a:cubicBezTo>
                    <a:cubicBezTo>
                      <a:pt x="-1786" y="396229"/>
                      <a:pt x="-1786" y="384095"/>
                      <a:pt x="5356" y="376957"/>
                    </a:cubicBezTo>
                    <a:cubicBezTo>
                      <a:pt x="5356" y="376957"/>
                      <a:pt x="5356" y="376957"/>
                      <a:pt x="98208" y="284163"/>
                    </a:cubicBezTo>
                    <a:close/>
                    <a:moveTo>
                      <a:pt x="737502" y="0"/>
                    </a:moveTo>
                    <a:cubicBezTo>
                      <a:pt x="737502" y="0"/>
                      <a:pt x="737502" y="0"/>
                      <a:pt x="1058075" y="0"/>
                    </a:cubicBezTo>
                    <a:cubicBezTo>
                      <a:pt x="1058075" y="0"/>
                      <a:pt x="1058075" y="0"/>
                      <a:pt x="1058075" y="412272"/>
                    </a:cubicBezTo>
                    <a:cubicBezTo>
                      <a:pt x="1058075" y="412272"/>
                      <a:pt x="1058075" y="412272"/>
                      <a:pt x="1104483" y="366701"/>
                    </a:cubicBezTo>
                    <a:cubicBezTo>
                      <a:pt x="1111622" y="359581"/>
                      <a:pt x="1123760" y="359581"/>
                      <a:pt x="1130900" y="367413"/>
                    </a:cubicBezTo>
                    <a:cubicBezTo>
                      <a:pt x="1138039" y="374534"/>
                      <a:pt x="1138039" y="386638"/>
                      <a:pt x="1130900" y="393759"/>
                    </a:cubicBezTo>
                    <a:cubicBezTo>
                      <a:pt x="1130900" y="393759"/>
                      <a:pt x="1130900" y="393759"/>
                      <a:pt x="1055219" y="467811"/>
                    </a:cubicBezTo>
                    <a:cubicBezTo>
                      <a:pt x="1053791" y="470659"/>
                      <a:pt x="1051649" y="472083"/>
                      <a:pt x="1049507" y="473508"/>
                    </a:cubicBezTo>
                    <a:cubicBezTo>
                      <a:pt x="1049507" y="473508"/>
                      <a:pt x="1049507" y="473508"/>
                      <a:pt x="1038797" y="484188"/>
                    </a:cubicBezTo>
                    <a:cubicBezTo>
                      <a:pt x="1038797" y="484188"/>
                      <a:pt x="1038797" y="484188"/>
                      <a:pt x="1025232" y="470659"/>
                    </a:cubicBezTo>
                    <a:cubicBezTo>
                      <a:pt x="998101" y="444314"/>
                      <a:pt x="953121" y="399455"/>
                      <a:pt x="948123" y="394471"/>
                    </a:cubicBezTo>
                    <a:cubicBezTo>
                      <a:pt x="940270" y="388063"/>
                      <a:pt x="938842" y="377382"/>
                      <a:pt x="944554" y="368837"/>
                    </a:cubicBezTo>
                    <a:cubicBezTo>
                      <a:pt x="950979" y="361005"/>
                      <a:pt x="962403" y="358869"/>
                      <a:pt x="970970" y="365277"/>
                    </a:cubicBezTo>
                    <a:cubicBezTo>
                      <a:pt x="972398" y="365989"/>
                      <a:pt x="974540" y="367413"/>
                      <a:pt x="1020948" y="413696"/>
                    </a:cubicBezTo>
                    <a:cubicBezTo>
                      <a:pt x="1020948" y="413696"/>
                      <a:pt x="1020948" y="413696"/>
                      <a:pt x="1020948" y="37026"/>
                    </a:cubicBezTo>
                    <a:cubicBezTo>
                      <a:pt x="1020948" y="37026"/>
                      <a:pt x="1020948" y="37026"/>
                      <a:pt x="737502" y="37026"/>
                    </a:cubicBezTo>
                    <a:cubicBezTo>
                      <a:pt x="727507" y="37026"/>
                      <a:pt x="718939" y="29194"/>
                      <a:pt x="718939" y="18513"/>
                    </a:cubicBezTo>
                    <a:cubicBezTo>
                      <a:pt x="718939" y="8545"/>
                      <a:pt x="727507" y="0"/>
                      <a:pt x="73750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11">
                <a:extLst>
                  <a:ext uri="{FF2B5EF4-FFF2-40B4-BE49-F238E27FC236}">
                    <a16:creationId xmlns:a16="http://schemas.microsoft.com/office/drawing/2014/main" id="{B5421E3E-A5CD-9623-24A4-60C6DBC5BFDC}"/>
                  </a:ext>
                </a:extLst>
              </p:cNvPr>
              <p:cNvSpPr/>
              <p:nvPr/>
            </p:nvSpPr>
            <p:spPr bwMode="auto">
              <a:xfrm>
                <a:off x="5476367" y="2803525"/>
                <a:ext cx="1199071" cy="1208088"/>
              </a:xfrm>
              <a:custGeom>
                <a:avLst/>
                <a:gdLst>
                  <a:gd name="connsiteX0" fmla="*/ 878957 w 1199071"/>
                  <a:gd name="connsiteY0" fmla="*/ 901700 h 1208088"/>
                  <a:gd name="connsiteX1" fmla="*/ 1146793 w 1199071"/>
                  <a:gd name="connsiteY1" fmla="*/ 901700 h 1208088"/>
                  <a:gd name="connsiteX2" fmla="*/ 1148941 w 1199071"/>
                  <a:gd name="connsiteY2" fmla="*/ 903122 h 1208088"/>
                  <a:gd name="connsiteX3" fmla="*/ 1146793 w 1199071"/>
                  <a:gd name="connsiteY3" fmla="*/ 914496 h 1208088"/>
                  <a:gd name="connsiteX4" fmla="*/ 1184032 w 1199071"/>
                  <a:gd name="connsiteY4" fmla="*/ 950751 h 1208088"/>
                  <a:gd name="connsiteX5" fmla="*/ 1196923 w 1199071"/>
                  <a:gd name="connsiteY5" fmla="*/ 947907 h 1208088"/>
                  <a:gd name="connsiteX6" fmla="*/ 1199071 w 1199071"/>
                  <a:gd name="connsiteY6" fmla="*/ 950040 h 1208088"/>
                  <a:gd name="connsiteX7" fmla="*/ 1199071 w 1199071"/>
                  <a:gd name="connsiteY7" fmla="*/ 1160459 h 1208088"/>
                  <a:gd name="connsiteX8" fmla="*/ 1196923 w 1199071"/>
                  <a:gd name="connsiteY8" fmla="*/ 1161881 h 1208088"/>
                  <a:gd name="connsiteX9" fmla="*/ 1184032 w 1199071"/>
                  <a:gd name="connsiteY9" fmla="*/ 1159748 h 1208088"/>
                  <a:gd name="connsiteX10" fmla="*/ 1146793 w 1199071"/>
                  <a:gd name="connsiteY10" fmla="*/ 1195292 h 1208088"/>
                  <a:gd name="connsiteX11" fmla="*/ 1148225 w 1199071"/>
                  <a:gd name="connsiteY11" fmla="*/ 1205956 h 1208088"/>
                  <a:gd name="connsiteX12" fmla="*/ 1146793 w 1199071"/>
                  <a:gd name="connsiteY12" fmla="*/ 1208088 h 1208088"/>
                  <a:gd name="connsiteX13" fmla="*/ 878957 w 1199071"/>
                  <a:gd name="connsiteY13" fmla="*/ 1208088 h 1208088"/>
                  <a:gd name="connsiteX14" fmla="*/ 878241 w 1199071"/>
                  <a:gd name="connsiteY14" fmla="*/ 1205245 h 1208088"/>
                  <a:gd name="connsiteX15" fmla="*/ 952003 w 1199071"/>
                  <a:gd name="connsiteY15" fmla="*/ 1055250 h 1208088"/>
                  <a:gd name="connsiteX16" fmla="*/ 878241 w 1199071"/>
                  <a:gd name="connsiteY16" fmla="*/ 903833 h 1208088"/>
                  <a:gd name="connsiteX17" fmla="*/ 878957 w 1199071"/>
                  <a:gd name="connsiteY17" fmla="*/ 901700 h 1208088"/>
                  <a:gd name="connsiteX18" fmla="*/ 518927 w 1199071"/>
                  <a:gd name="connsiteY18" fmla="*/ 901700 h 1208088"/>
                  <a:gd name="connsiteX19" fmla="*/ 786633 w 1199071"/>
                  <a:gd name="connsiteY19" fmla="*/ 901700 h 1208088"/>
                  <a:gd name="connsiteX20" fmla="*/ 788065 w 1199071"/>
                  <a:gd name="connsiteY20" fmla="*/ 903833 h 1208088"/>
                  <a:gd name="connsiteX21" fmla="*/ 713622 w 1199071"/>
                  <a:gd name="connsiteY21" fmla="*/ 1055250 h 1208088"/>
                  <a:gd name="connsiteX22" fmla="*/ 788065 w 1199071"/>
                  <a:gd name="connsiteY22" fmla="*/ 1205245 h 1208088"/>
                  <a:gd name="connsiteX23" fmla="*/ 786633 w 1199071"/>
                  <a:gd name="connsiteY23" fmla="*/ 1208088 h 1208088"/>
                  <a:gd name="connsiteX24" fmla="*/ 519643 w 1199071"/>
                  <a:gd name="connsiteY24" fmla="*/ 1208088 h 1208088"/>
                  <a:gd name="connsiteX25" fmla="*/ 518211 w 1199071"/>
                  <a:gd name="connsiteY25" fmla="*/ 1205956 h 1208088"/>
                  <a:gd name="connsiteX26" fmla="*/ 519643 w 1199071"/>
                  <a:gd name="connsiteY26" fmla="*/ 1195292 h 1208088"/>
                  <a:gd name="connsiteX27" fmla="*/ 483137 w 1199071"/>
                  <a:gd name="connsiteY27" fmla="*/ 1159748 h 1208088"/>
                  <a:gd name="connsiteX28" fmla="*/ 470969 w 1199071"/>
                  <a:gd name="connsiteY28" fmla="*/ 1161170 h 1208088"/>
                  <a:gd name="connsiteX29" fmla="*/ 468821 w 1199071"/>
                  <a:gd name="connsiteY29" fmla="*/ 1159748 h 1208088"/>
                  <a:gd name="connsiteX30" fmla="*/ 468821 w 1199071"/>
                  <a:gd name="connsiteY30" fmla="*/ 950040 h 1208088"/>
                  <a:gd name="connsiteX31" fmla="*/ 470969 w 1199071"/>
                  <a:gd name="connsiteY31" fmla="*/ 948618 h 1208088"/>
                  <a:gd name="connsiteX32" fmla="*/ 483137 w 1199071"/>
                  <a:gd name="connsiteY32" fmla="*/ 950751 h 1208088"/>
                  <a:gd name="connsiteX33" fmla="*/ 519643 w 1199071"/>
                  <a:gd name="connsiteY33" fmla="*/ 914496 h 1208088"/>
                  <a:gd name="connsiteX34" fmla="*/ 518211 w 1199071"/>
                  <a:gd name="connsiteY34" fmla="*/ 903122 h 1208088"/>
                  <a:gd name="connsiteX35" fmla="*/ 518927 w 1199071"/>
                  <a:gd name="connsiteY35" fmla="*/ 901700 h 1208088"/>
                  <a:gd name="connsiteX36" fmla="*/ 326025 w 1199071"/>
                  <a:gd name="connsiteY36" fmla="*/ 182184 h 1208088"/>
                  <a:gd name="connsiteX37" fmla="*/ 273872 w 1199071"/>
                  <a:gd name="connsiteY37" fmla="*/ 193386 h 1208088"/>
                  <a:gd name="connsiteX38" fmla="*/ 204469 w 1199071"/>
                  <a:gd name="connsiteY38" fmla="*/ 370489 h 1208088"/>
                  <a:gd name="connsiteX39" fmla="*/ 381196 w 1199071"/>
                  <a:gd name="connsiteY39" fmla="*/ 440904 h 1208088"/>
                  <a:gd name="connsiteX40" fmla="*/ 449884 w 1199071"/>
                  <a:gd name="connsiteY40" fmla="*/ 263801 h 1208088"/>
                  <a:gd name="connsiteX41" fmla="*/ 326025 w 1199071"/>
                  <a:gd name="connsiteY41" fmla="*/ 182184 h 1208088"/>
                  <a:gd name="connsiteX42" fmla="*/ 423813 w 1199071"/>
                  <a:gd name="connsiteY42" fmla="*/ 0 h 1208088"/>
                  <a:gd name="connsiteX43" fmla="*/ 543626 w 1199071"/>
                  <a:gd name="connsiteY43" fmla="*/ 68477 h 1208088"/>
                  <a:gd name="connsiteX44" fmla="*/ 540060 w 1199071"/>
                  <a:gd name="connsiteY44" fmla="*/ 124115 h 1208088"/>
                  <a:gd name="connsiteX45" fmla="*/ 574293 w 1199071"/>
                  <a:gd name="connsiteY45" fmla="*/ 171193 h 1208088"/>
                  <a:gd name="connsiteX46" fmla="*/ 597828 w 1199071"/>
                  <a:gd name="connsiteY46" fmla="*/ 221837 h 1208088"/>
                  <a:gd name="connsiteX47" fmla="*/ 647750 w 1199071"/>
                  <a:gd name="connsiteY47" fmla="*/ 244663 h 1208088"/>
                  <a:gd name="connsiteX48" fmla="*/ 649176 w 1199071"/>
                  <a:gd name="connsiteY48" fmla="*/ 382331 h 1208088"/>
                  <a:gd name="connsiteX49" fmla="*/ 600680 w 1199071"/>
                  <a:gd name="connsiteY49" fmla="*/ 404443 h 1208088"/>
                  <a:gd name="connsiteX50" fmla="*/ 541487 w 1199071"/>
                  <a:gd name="connsiteY50" fmla="*/ 509298 h 1208088"/>
                  <a:gd name="connsiteX51" fmla="*/ 548618 w 1199071"/>
                  <a:gd name="connsiteY51" fmla="*/ 564223 h 1208088"/>
                  <a:gd name="connsiteX52" fmla="*/ 493704 w 1199071"/>
                  <a:gd name="connsiteY52" fmla="*/ 605594 h 1208088"/>
                  <a:gd name="connsiteX53" fmla="*/ 431658 w 1199071"/>
                  <a:gd name="connsiteY53" fmla="*/ 633413 h 1208088"/>
                  <a:gd name="connsiteX54" fmla="*/ 387441 w 1199071"/>
                  <a:gd name="connsiteY54" fmla="*/ 600601 h 1208088"/>
                  <a:gd name="connsiteX55" fmla="*/ 269054 w 1199071"/>
                  <a:gd name="connsiteY55" fmla="*/ 599888 h 1208088"/>
                  <a:gd name="connsiteX56" fmla="*/ 225550 w 1199071"/>
                  <a:gd name="connsiteY56" fmla="*/ 633413 h 1208088"/>
                  <a:gd name="connsiteX57" fmla="*/ 107163 w 1199071"/>
                  <a:gd name="connsiteY57" fmla="*/ 562083 h 1208088"/>
                  <a:gd name="connsiteX58" fmla="*/ 114295 w 1199071"/>
                  <a:gd name="connsiteY58" fmla="*/ 507159 h 1208088"/>
                  <a:gd name="connsiteX59" fmla="*/ 82202 w 1199071"/>
                  <a:gd name="connsiteY59" fmla="*/ 461507 h 1208088"/>
                  <a:gd name="connsiteX60" fmla="*/ 57241 w 1199071"/>
                  <a:gd name="connsiteY60" fmla="*/ 407296 h 1208088"/>
                  <a:gd name="connsiteX61" fmla="*/ 7319 w 1199071"/>
                  <a:gd name="connsiteY61" fmla="*/ 386610 h 1208088"/>
                  <a:gd name="connsiteX62" fmla="*/ 8745 w 1199071"/>
                  <a:gd name="connsiteY62" fmla="*/ 243950 h 1208088"/>
                  <a:gd name="connsiteX63" fmla="*/ 58667 w 1199071"/>
                  <a:gd name="connsiteY63" fmla="*/ 221124 h 1208088"/>
                  <a:gd name="connsiteX64" fmla="*/ 113582 w 1199071"/>
                  <a:gd name="connsiteY64" fmla="*/ 127681 h 1208088"/>
                  <a:gd name="connsiteX65" fmla="*/ 106450 w 1199071"/>
                  <a:gd name="connsiteY65" fmla="*/ 72044 h 1208088"/>
                  <a:gd name="connsiteX66" fmla="*/ 163504 w 1199071"/>
                  <a:gd name="connsiteY66" fmla="*/ 29959 h 1208088"/>
                  <a:gd name="connsiteX67" fmla="*/ 227690 w 1199071"/>
                  <a:gd name="connsiteY67" fmla="*/ 713 h 1208088"/>
                  <a:gd name="connsiteX68" fmla="*/ 272620 w 1199071"/>
                  <a:gd name="connsiteY68" fmla="*/ 33525 h 1208088"/>
                  <a:gd name="connsiteX69" fmla="*/ 379596 w 1199071"/>
                  <a:gd name="connsiteY69" fmla="*/ 33525 h 1208088"/>
                  <a:gd name="connsiteX70" fmla="*/ 423813 w 1199071"/>
                  <a:gd name="connsiteY70" fmla="*/ 0 h 120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199071" h="1208088">
                    <a:moveTo>
                      <a:pt x="878957" y="901700"/>
                    </a:moveTo>
                    <a:cubicBezTo>
                      <a:pt x="878957" y="901700"/>
                      <a:pt x="878957" y="901700"/>
                      <a:pt x="1146793" y="901700"/>
                    </a:cubicBezTo>
                    <a:cubicBezTo>
                      <a:pt x="1148225" y="901700"/>
                      <a:pt x="1148941" y="902411"/>
                      <a:pt x="1148941" y="903122"/>
                    </a:cubicBezTo>
                    <a:cubicBezTo>
                      <a:pt x="1147509" y="906676"/>
                      <a:pt x="1146793" y="910942"/>
                      <a:pt x="1146793" y="914496"/>
                    </a:cubicBezTo>
                    <a:cubicBezTo>
                      <a:pt x="1146793" y="934400"/>
                      <a:pt x="1163264" y="950751"/>
                      <a:pt x="1184032" y="950751"/>
                    </a:cubicBezTo>
                    <a:cubicBezTo>
                      <a:pt x="1188329" y="950751"/>
                      <a:pt x="1193342" y="950040"/>
                      <a:pt x="1196923" y="947907"/>
                    </a:cubicBezTo>
                    <a:cubicBezTo>
                      <a:pt x="1198355" y="947907"/>
                      <a:pt x="1199071" y="948618"/>
                      <a:pt x="1199071" y="950040"/>
                    </a:cubicBezTo>
                    <a:cubicBezTo>
                      <a:pt x="1199071" y="950040"/>
                      <a:pt x="1199071" y="950040"/>
                      <a:pt x="1199071" y="1160459"/>
                    </a:cubicBezTo>
                    <a:cubicBezTo>
                      <a:pt x="1199071" y="1161170"/>
                      <a:pt x="1198355" y="1161881"/>
                      <a:pt x="1196923" y="1161881"/>
                    </a:cubicBezTo>
                    <a:cubicBezTo>
                      <a:pt x="1193342" y="1160459"/>
                      <a:pt x="1188329" y="1159748"/>
                      <a:pt x="1184032" y="1159748"/>
                    </a:cubicBezTo>
                    <a:cubicBezTo>
                      <a:pt x="1163264" y="1159748"/>
                      <a:pt x="1146793" y="1176099"/>
                      <a:pt x="1146793" y="1195292"/>
                    </a:cubicBezTo>
                    <a:cubicBezTo>
                      <a:pt x="1146793" y="1198847"/>
                      <a:pt x="1146793" y="1202401"/>
                      <a:pt x="1148225" y="1205956"/>
                    </a:cubicBezTo>
                    <a:cubicBezTo>
                      <a:pt x="1148941" y="1206666"/>
                      <a:pt x="1148225" y="1208088"/>
                      <a:pt x="1146793" y="1208088"/>
                    </a:cubicBezTo>
                    <a:cubicBezTo>
                      <a:pt x="1146793" y="1208088"/>
                      <a:pt x="1146793" y="1208088"/>
                      <a:pt x="878957" y="1208088"/>
                    </a:cubicBezTo>
                    <a:cubicBezTo>
                      <a:pt x="877524" y="1208088"/>
                      <a:pt x="876808" y="1205956"/>
                      <a:pt x="878241" y="1205245"/>
                    </a:cubicBezTo>
                    <a:cubicBezTo>
                      <a:pt x="915480" y="1178942"/>
                      <a:pt x="952003" y="1121361"/>
                      <a:pt x="952003" y="1055250"/>
                    </a:cubicBezTo>
                    <a:cubicBezTo>
                      <a:pt x="952003" y="988427"/>
                      <a:pt x="915480" y="930135"/>
                      <a:pt x="878241" y="903833"/>
                    </a:cubicBezTo>
                    <a:cubicBezTo>
                      <a:pt x="876808" y="903122"/>
                      <a:pt x="877524" y="901700"/>
                      <a:pt x="878957" y="901700"/>
                    </a:cubicBezTo>
                    <a:close/>
                    <a:moveTo>
                      <a:pt x="518927" y="901700"/>
                    </a:moveTo>
                    <a:cubicBezTo>
                      <a:pt x="518927" y="901700"/>
                      <a:pt x="518927" y="901700"/>
                      <a:pt x="786633" y="901700"/>
                    </a:cubicBezTo>
                    <a:cubicBezTo>
                      <a:pt x="788780" y="901700"/>
                      <a:pt x="789496" y="903122"/>
                      <a:pt x="788065" y="903833"/>
                    </a:cubicBezTo>
                    <a:cubicBezTo>
                      <a:pt x="750128" y="930135"/>
                      <a:pt x="713622" y="988427"/>
                      <a:pt x="713622" y="1055250"/>
                    </a:cubicBezTo>
                    <a:cubicBezTo>
                      <a:pt x="713622" y="1121361"/>
                      <a:pt x="750128" y="1178942"/>
                      <a:pt x="788065" y="1205245"/>
                    </a:cubicBezTo>
                    <a:cubicBezTo>
                      <a:pt x="789496" y="1205956"/>
                      <a:pt x="788780" y="1208088"/>
                      <a:pt x="786633" y="1208088"/>
                    </a:cubicBezTo>
                    <a:cubicBezTo>
                      <a:pt x="786633" y="1208088"/>
                      <a:pt x="786633" y="1208088"/>
                      <a:pt x="519643" y="1208088"/>
                    </a:cubicBezTo>
                    <a:cubicBezTo>
                      <a:pt x="518927" y="1208088"/>
                      <a:pt x="518211" y="1206666"/>
                      <a:pt x="518211" y="1205956"/>
                    </a:cubicBezTo>
                    <a:cubicBezTo>
                      <a:pt x="518927" y="1202401"/>
                      <a:pt x="519643" y="1198847"/>
                      <a:pt x="519643" y="1195292"/>
                    </a:cubicBezTo>
                    <a:cubicBezTo>
                      <a:pt x="519643" y="1176099"/>
                      <a:pt x="503895" y="1159748"/>
                      <a:pt x="483137" y="1159748"/>
                    </a:cubicBezTo>
                    <a:cubicBezTo>
                      <a:pt x="478842" y="1159748"/>
                      <a:pt x="474548" y="1160459"/>
                      <a:pt x="470969" y="1161170"/>
                    </a:cubicBezTo>
                    <a:cubicBezTo>
                      <a:pt x="470253" y="1161881"/>
                      <a:pt x="468821" y="1161170"/>
                      <a:pt x="468821" y="1159748"/>
                    </a:cubicBezTo>
                    <a:cubicBezTo>
                      <a:pt x="468821" y="1159748"/>
                      <a:pt x="468821" y="1159748"/>
                      <a:pt x="468821" y="950040"/>
                    </a:cubicBezTo>
                    <a:cubicBezTo>
                      <a:pt x="468821" y="948618"/>
                      <a:pt x="470253" y="947907"/>
                      <a:pt x="470969" y="948618"/>
                    </a:cubicBezTo>
                    <a:cubicBezTo>
                      <a:pt x="474548" y="950040"/>
                      <a:pt x="478842" y="950751"/>
                      <a:pt x="483137" y="950751"/>
                    </a:cubicBezTo>
                    <a:cubicBezTo>
                      <a:pt x="503895" y="950751"/>
                      <a:pt x="519643" y="934400"/>
                      <a:pt x="519643" y="914496"/>
                    </a:cubicBezTo>
                    <a:cubicBezTo>
                      <a:pt x="519643" y="910942"/>
                      <a:pt x="518927" y="906676"/>
                      <a:pt x="518211" y="903122"/>
                    </a:cubicBezTo>
                    <a:cubicBezTo>
                      <a:pt x="517495" y="902411"/>
                      <a:pt x="518211" y="901700"/>
                      <a:pt x="518927" y="901700"/>
                    </a:cubicBezTo>
                    <a:close/>
                    <a:moveTo>
                      <a:pt x="326025" y="182184"/>
                    </a:moveTo>
                    <a:cubicBezTo>
                      <a:pt x="308574" y="182317"/>
                      <a:pt x="290865" y="185918"/>
                      <a:pt x="273872" y="193386"/>
                    </a:cubicBezTo>
                    <a:cubicBezTo>
                      <a:pt x="205900" y="222548"/>
                      <a:pt x="175134" y="301497"/>
                      <a:pt x="204469" y="370489"/>
                    </a:cubicBezTo>
                    <a:cubicBezTo>
                      <a:pt x="233805" y="438770"/>
                      <a:pt x="313224" y="471488"/>
                      <a:pt x="381196" y="440904"/>
                    </a:cubicBezTo>
                    <a:cubicBezTo>
                      <a:pt x="449168" y="412454"/>
                      <a:pt x="479934" y="332081"/>
                      <a:pt x="449884" y="263801"/>
                    </a:cubicBezTo>
                    <a:cubicBezTo>
                      <a:pt x="428419" y="212590"/>
                      <a:pt x="378379" y="181784"/>
                      <a:pt x="326025" y="182184"/>
                    </a:cubicBezTo>
                    <a:close/>
                    <a:moveTo>
                      <a:pt x="423813" y="0"/>
                    </a:moveTo>
                    <a:cubicBezTo>
                      <a:pt x="467317" y="13553"/>
                      <a:pt x="510107" y="37805"/>
                      <a:pt x="543626" y="68477"/>
                    </a:cubicBezTo>
                    <a:cubicBezTo>
                      <a:pt x="543626" y="68477"/>
                      <a:pt x="543626" y="68477"/>
                      <a:pt x="540060" y="124115"/>
                    </a:cubicBezTo>
                    <a:cubicBezTo>
                      <a:pt x="552898" y="138381"/>
                      <a:pt x="565021" y="154074"/>
                      <a:pt x="574293" y="171193"/>
                    </a:cubicBezTo>
                    <a:cubicBezTo>
                      <a:pt x="584277" y="188312"/>
                      <a:pt x="592122" y="205431"/>
                      <a:pt x="597828" y="221837"/>
                    </a:cubicBezTo>
                    <a:cubicBezTo>
                      <a:pt x="597828" y="221837"/>
                      <a:pt x="597828" y="221837"/>
                      <a:pt x="647750" y="244663"/>
                    </a:cubicBezTo>
                    <a:cubicBezTo>
                      <a:pt x="657021" y="290314"/>
                      <a:pt x="657734" y="338106"/>
                      <a:pt x="649176" y="382331"/>
                    </a:cubicBezTo>
                    <a:cubicBezTo>
                      <a:pt x="649176" y="382331"/>
                      <a:pt x="649176" y="382331"/>
                      <a:pt x="600680" y="404443"/>
                    </a:cubicBezTo>
                    <a:cubicBezTo>
                      <a:pt x="587843" y="442961"/>
                      <a:pt x="568587" y="479340"/>
                      <a:pt x="541487" y="509298"/>
                    </a:cubicBezTo>
                    <a:cubicBezTo>
                      <a:pt x="541487" y="509298"/>
                      <a:pt x="541487" y="509298"/>
                      <a:pt x="548618" y="564223"/>
                    </a:cubicBezTo>
                    <a:cubicBezTo>
                      <a:pt x="530789" y="579202"/>
                      <a:pt x="512247" y="592755"/>
                      <a:pt x="493704" y="605594"/>
                    </a:cubicBezTo>
                    <a:cubicBezTo>
                      <a:pt x="473022" y="616294"/>
                      <a:pt x="452340" y="625567"/>
                      <a:pt x="431658" y="633413"/>
                    </a:cubicBezTo>
                    <a:cubicBezTo>
                      <a:pt x="431658" y="633413"/>
                      <a:pt x="431658" y="633413"/>
                      <a:pt x="387441" y="600601"/>
                    </a:cubicBezTo>
                    <a:cubicBezTo>
                      <a:pt x="346790" y="609161"/>
                      <a:pt x="307565" y="609161"/>
                      <a:pt x="269054" y="599888"/>
                    </a:cubicBezTo>
                    <a:cubicBezTo>
                      <a:pt x="269054" y="599888"/>
                      <a:pt x="269054" y="599888"/>
                      <a:pt x="225550" y="633413"/>
                    </a:cubicBezTo>
                    <a:cubicBezTo>
                      <a:pt x="183473" y="617720"/>
                      <a:pt x="142822" y="594895"/>
                      <a:pt x="107163" y="562083"/>
                    </a:cubicBezTo>
                    <a:cubicBezTo>
                      <a:pt x="107163" y="562083"/>
                      <a:pt x="107163" y="562083"/>
                      <a:pt x="114295" y="507159"/>
                    </a:cubicBezTo>
                    <a:cubicBezTo>
                      <a:pt x="102171" y="493606"/>
                      <a:pt x="91473" y="478626"/>
                      <a:pt x="82202" y="461507"/>
                    </a:cubicBezTo>
                    <a:cubicBezTo>
                      <a:pt x="71504" y="445101"/>
                      <a:pt x="62946" y="425842"/>
                      <a:pt x="57241" y="407296"/>
                    </a:cubicBezTo>
                    <a:cubicBezTo>
                      <a:pt x="57241" y="407296"/>
                      <a:pt x="57241" y="407296"/>
                      <a:pt x="7319" y="386610"/>
                    </a:cubicBezTo>
                    <a:cubicBezTo>
                      <a:pt x="-2666" y="337392"/>
                      <a:pt x="-2666" y="289601"/>
                      <a:pt x="8745" y="243950"/>
                    </a:cubicBezTo>
                    <a:cubicBezTo>
                      <a:pt x="8745" y="243950"/>
                      <a:pt x="8745" y="243950"/>
                      <a:pt x="58667" y="221124"/>
                    </a:cubicBezTo>
                    <a:cubicBezTo>
                      <a:pt x="70078" y="187599"/>
                      <a:pt x="89334" y="156213"/>
                      <a:pt x="113582" y="127681"/>
                    </a:cubicBezTo>
                    <a:cubicBezTo>
                      <a:pt x="113582" y="127681"/>
                      <a:pt x="113582" y="127681"/>
                      <a:pt x="106450" y="72044"/>
                    </a:cubicBezTo>
                    <a:cubicBezTo>
                      <a:pt x="122853" y="57064"/>
                      <a:pt x="142822" y="42085"/>
                      <a:pt x="163504" y="29959"/>
                    </a:cubicBezTo>
                    <a:cubicBezTo>
                      <a:pt x="184899" y="17833"/>
                      <a:pt x="205581" y="8560"/>
                      <a:pt x="227690" y="713"/>
                    </a:cubicBezTo>
                    <a:cubicBezTo>
                      <a:pt x="227690" y="713"/>
                      <a:pt x="227690" y="713"/>
                      <a:pt x="272620" y="33525"/>
                    </a:cubicBezTo>
                    <a:cubicBezTo>
                      <a:pt x="307565" y="26392"/>
                      <a:pt x="343937" y="25679"/>
                      <a:pt x="379596" y="33525"/>
                    </a:cubicBezTo>
                    <a:cubicBezTo>
                      <a:pt x="379596" y="33525"/>
                      <a:pt x="379596" y="33525"/>
                      <a:pt x="4238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6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6805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0">
            <a:extLst>
              <a:ext uri="{FF2B5EF4-FFF2-40B4-BE49-F238E27FC236}">
                <a16:creationId xmlns:a16="http://schemas.microsoft.com/office/drawing/2014/main" id="{5893D1BE-27F8-4F13-4B48-0AF27A67B17B}"/>
              </a:ext>
            </a:extLst>
          </p:cNvPr>
          <p:cNvSpPr/>
          <p:nvPr/>
        </p:nvSpPr>
        <p:spPr>
          <a:xfrm>
            <a:off x="210487" y="2537588"/>
            <a:ext cx="4465558" cy="558165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4350"/>
              </a:lnSpc>
            </a:pPr>
            <a:r>
              <a:rPr lang="en-US" sz="3500" dirty="0">
                <a:solidFill>
                  <a:srgbClr val="373B48"/>
                </a:solidFill>
                <a:latin typeface="Mona Sans Semi Bold" pitchFamily="34" charset="0"/>
                <a:ea typeface="Mona Sans Semi Bold" pitchFamily="34" charset="-122"/>
                <a:cs typeface="Mona Sans Semi Bold" pitchFamily="34" charset="-120"/>
              </a:rPr>
              <a:t>4. Climate Impact</a:t>
            </a:r>
            <a:endParaRPr lang="en-US" sz="35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Text 1">
            <a:extLst>
              <a:ext uri="{FF2B5EF4-FFF2-40B4-BE49-F238E27FC236}">
                <a16:creationId xmlns:a16="http://schemas.microsoft.com/office/drawing/2014/main" id="{8C7E027A-3DBB-E183-55D4-4CDD8BFEE6EF}"/>
              </a:ext>
            </a:extLst>
          </p:cNvPr>
          <p:cNvSpPr/>
          <p:nvPr/>
        </p:nvSpPr>
        <p:spPr>
          <a:xfrm>
            <a:off x="4334849" y="119602"/>
            <a:ext cx="7556421" cy="28575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250"/>
              </a:lnSpc>
            </a:pPr>
            <a:r>
              <a:rPr lang="en-US" sz="1400" i="1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From sections on livestock productivity, coping, and environmental data.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pic>
        <p:nvPicPr>
          <p:cNvPr id="43" name="Image 1" descr="preencoded.png">
            <a:extLst>
              <a:ext uri="{FF2B5EF4-FFF2-40B4-BE49-F238E27FC236}">
                <a16:creationId xmlns:a16="http://schemas.microsoft.com/office/drawing/2014/main" id="{E36882C2-2589-4011-AB25-AF2758B5A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4849" y="608473"/>
            <a:ext cx="893088" cy="1314807"/>
          </a:xfrm>
          <a:prstGeom prst="rect">
            <a:avLst/>
          </a:prstGeom>
        </p:spPr>
      </p:pic>
      <p:sp>
        <p:nvSpPr>
          <p:cNvPr id="44" name="Text 2">
            <a:extLst>
              <a:ext uri="{FF2B5EF4-FFF2-40B4-BE49-F238E27FC236}">
                <a16:creationId xmlns:a16="http://schemas.microsoft.com/office/drawing/2014/main" id="{886E327C-244D-0A84-6B73-21C5ACDEEAEF}"/>
              </a:ext>
            </a:extLst>
          </p:cNvPr>
          <p:cNvSpPr/>
          <p:nvPr/>
        </p:nvSpPr>
        <p:spPr>
          <a:xfrm>
            <a:off x="5406530" y="787067"/>
            <a:ext cx="2287786" cy="27896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150"/>
              </a:lnSpc>
            </a:pPr>
            <a:r>
              <a:rPr lang="en-US" sz="1750" dirty="0">
                <a:solidFill>
                  <a:srgbClr val="52586B"/>
                </a:solidFill>
                <a:latin typeface="+mj-lt"/>
                <a:ea typeface="Mona Sans Semi Bold" pitchFamily="34" charset="-122"/>
                <a:cs typeface="Mona Sans Semi Bold" pitchFamily="34" charset="-120"/>
              </a:rPr>
              <a:t>Adaptation Practices</a:t>
            </a:r>
            <a:endParaRPr lang="en-US" sz="175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5" name="Text 3">
            <a:extLst>
              <a:ext uri="{FF2B5EF4-FFF2-40B4-BE49-F238E27FC236}">
                <a16:creationId xmlns:a16="http://schemas.microsoft.com/office/drawing/2014/main" id="{59BD4D01-1BE3-7B8D-AF22-A59150EE8F13}"/>
              </a:ext>
            </a:extLst>
          </p:cNvPr>
          <p:cNvSpPr/>
          <p:nvPr/>
        </p:nvSpPr>
        <p:spPr>
          <a:xfrm>
            <a:off x="5406530" y="1173186"/>
            <a:ext cx="6484739" cy="571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250"/>
              </a:lnSpc>
            </a:pPr>
            <a:r>
              <a:rPr lang="en-US" sz="1400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Percentage adopting drought coping strategies including feed storage and strategic destocking during dry periods.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pic>
        <p:nvPicPr>
          <p:cNvPr id="46" name="Image 2" descr="preencoded.png">
            <a:extLst>
              <a:ext uri="{FF2B5EF4-FFF2-40B4-BE49-F238E27FC236}">
                <a16:creationId xmlns:a16="http://schemas.microsoft.com/office/drawing/2014/main" id="{C8A800C0-4239-6BFF-78D0-5490737AA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4849" y="1923280"/>
            <a:ext cx="893088" cy="1314807"/>
          </a:xfrm>
          <a:prstGeom prst="rect">
            <a:avLst/>
          </a:prstGeom>
        </p:spPr>
      </p:pic>
      <p:sp>
        <p:nvSpPr>
          <p:cNvPr id="47" name="Text 4">
            <a:extLst>
              <a:ext uri="{FF2B5EF4-FFF2-40B4-BE49-F238E27FC236}">
                <a16:creationId xmlns:a16="http://schemas.microsoft.com/office/drawing/2014/main" id="{75350AC5-7294-8A10-893D-420079859942}"/>
              </a:ext>
            </a:extLst>
          </p:cNvPr>
          <p:cNvSpPr/>
          <p:nvPr/>
        </p:nvSpPr>
        <p:spPr>
          <a:xfrm>
            <a:off x="5406530" y="2101874"/>
            <a:ext cx="2232779" cy="27896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150"/>
              </a:lnSpc>
            </a:pPr>
            <a:r>
              <a:rPr lang="en-US" sz="1750" dirty="0">
                <a:solidFill>
                  <a:srgbClr val="52586B"/>
                </a:solidFill>
                <a:latin typeface="+mj-lt"/>
                <a:ea typeface="Mona Sans Semi Bold" pitchFamily="34" charset="-122"/>
                <a:cs typeface="Mona Sans Semi Bold" pitchFamily="34" charset="-120"/>
              </a:rPr>
              <a:t>GHG Proxy</a:t>
            </a:r>
            <a:endParaRPr lang="en-US" sz="175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8" name="Text 5">
            <a:extLst>
              <a:ext uri="{FF2B5EF4-FFF2-40B4-BE49-F238E27FC236}">
                <a16:creationId xmlns:a16="http://schemas.microsoft.com/office/drawing/2014/main" id="{C32444E7-3EE0-1CB3-E8EF-BFF0230F2C3B}"/>
              </a:ext>
            </a:extLst>
          </p:cNvPr>
          <p:cNvSpPr/>
          <p:nvPr/>
        </p:nvSpPr>
        <p:spPr>
          <a:xfrm>
            <a:off x="5406530" y="2487994"/>
            <a:ext cx="6484739" cy="571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250"/>
              </a:lnSpc>
            </a:pPr>
            <a:r>
              <a:rPr lang="en-US" sz="1400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Average age at slaughter tracking (younger animals = lower methane emissions per unit of meat produced).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pic>
        <p:nvPicPr>
          <p:cNvPr id="49" name="Image 3" descr="preencoded.png">
            <a:extLst>
              <a:ext uri="{FF2B5EF4-FFF2-40B4-BE49-F238E27FC236}">
                <a16:creationId xmlns:a16="http://schemas.microsoft.com/office/drawing/2014/main" id="{67EF562D-7443-86E7-ED1C-684DF741E6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4849" y="3238087"/>
            <a:ext cx="893088" cy="1314807"/>
          </a:xfrm>
          <a:prstGeom prst="rect">
            <a:avLst/>
          </a:prstGeom>
        </p:spPr>
      </p:pic>
      <p:sp>
        <p:nvSpPr>
          <p:cNvPr id="50" name="Text 6">
            <a:extLst>
              <a:ext uri="{FF2B5EF4-FFF2-40B4-BE49-F238E27FC236}">
                <a16:creationId xmlns:a16="http://schemas.microsoft.com/office/drawing/2014/main" id="{31113927-4C81-567D-3577-4347954D79C1}"/>
              </a:ext>
            </a:extLst>
          </p:cNvPr>
          <p:cNvSpPr/>
          <p:nvPr/>
        </p:nvSpPr>
        <p:spPr>
          <a:xfrm>
            <a:off x="5504407" y="3389892"/>
            <a:ext cx="2883456" cy="278963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150"/>
              </a:lnSpc>
            </a:pPr>
            <a:r>
              <a:rPr lang="en-US" sz="1750" dirty="0">
                <a:solidFill>
                  <a:srgbClr val="52586B"/>
                </a:solidFill>
                <a:latin typeface="+mj-lt"/>
                <a:ea typeface="Mona Sans Semi Bold" pitchFamily="34" charset="-122"/>
                <a:cs typeface="Mona Sans Semi Bold" pitchFamily="34" charset="-120"/>
              </a:rPr>
              <a:t>Resilience Through Coping</a:t>
            </a:r>
            <a:endParaRPr lang="en-US" sz="175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1" name="Text 7">
            <a:extLst>
              <a:ext uri="{FF2B5EF4-FFF2-40B4-BE49-F238E27FC236}">
                <a16:creationId xmlns:a16="http://schemas.microsoft.com/office/drawing/2014/main" id="{D92283DF-5103-5C6A-D115-5E9B074C788E}"/>
              </a:ext>
            </a:extLst>
          </p:cNvPr>
          <p:cNvSpPr/>
          <p:nvPr/>
        </p:nvSpPr>
        <p:spPr>
          <a:xfrm>
            <a:off x="5406530" y="3802801"/>
            <a:ext cx="6484739" cy="5715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250"/>
              </a:lnSpc>
            </a:pPr>
            <a:r>
              <a:rPr lang="en-US" sz="1400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Percentage of households using adaptive vs erosive strategies during drought cycles and climate shocks.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2" name="Text 8">
            <a:extLst>
              <a:ext uri="{FF2B5EF4-FFF2-40B4-BE49-F238E27FC236}">
                <a16:creationId xmlns:a16="http://schemas.microsoft.com/office/drawing/2014/main" id="{EBAF4D50-EF7B-EB21-6AF2-A67288A19A60}"/>
              </a:ext>
            </a:extLst>
          </p:cNvPr>
          <p:cNvSpPr/>
          <p:nvPr/>
        </p:nvSpPr>
        <p:spPr>
          <a:xfrm>
            <a:off x="4334849" y="4820785"/>
            <a:ext cx="4073128" cy="33480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600"/>
              </a:lnSpc>
            </a:pPr>
            <a:r>
              <a:rPr lang="en-US" sz="2100" dirty="0">
                <a:solidFill>
                  <a:srgbClr val="373B48"/>
                </a:solidFill>
                <a:latin typeface="+mj-lt"/>
                <a:ea typeface="Mona Sans Semi Bold" pitchFamily="34" charset="-122"/>
                <a:cs typeface="Mona Sans Semi Bold" pitchFamily="34" charset="-120"/>
              </a:rPr>
              <a:t>Dashboard Visual Components</a:t>
            </a:r>
            <a:endParaRPr lang="en-US" sz="21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3" name="Text 9">
            <a:extLst>
              <a:ext uri="{FF2B5EF4-FFF2-40B4-BE49-F238E27FC236}">
                <a16:creationId xmlns:a16="http://schemas.microsoft.com/office/drawing/2014/main" id="{418532C9-A6BA-C5B4-9F63-D7CBCC93D0B4}"/>
              </a:ext>
            </a:extLst>
          </p:cNvPr>
          <p:cNvSpPr/>
          <p:nvPr/>
        </p:nvSpPr>
        <p:spPr>
          <a:xfrm>
            <a:off x="4334849" y="5423480"/>
            <a:ext cx="7556421" cy="28575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>
              <a:lnSpc>
                <a:spcPts val="2250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Time-series of coping strategies used across drought cycles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4" name="Text 10">
            <a:extLst>
              <a:ext uri="{FF2B5EF4-FFF2-40B4-BE49-F238E27FC236}">
                <a16:creationId xmlns:a16="http://schemas.microsoft.com/office/drawing/2014/main" id="{DC07DD52-73E7-97F5-11A6-94FCA67EF58E}"/>
              </a:ext>
            </a:extLst>
          </p:cNvPr>
          <p:cNvSpPr/>
          <p:nvPr/>
        </p:nvSpPr>
        <p:spPr>
          <a:xfrm>
            <a:off x="4334849" y="5771737"/>
            <a:ext cx="7556421" cy="28575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>
              <a:lnSpc>
                <a:spcPts val="2250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Comparative age-at-slaughter bar chart (baseline vs endline)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5" name="Text 11">
            <a:extLst>
              <a:ext uri="{FF2B5EF4-FFF2-40B4-BE49-F238E27FC236}">
                <a16:creationId xmlns:a16="http://schemas.microsoft.com/office/drawing/2014/main" id="{22473069-D81C-2BF2-7511-34D33165250A}"/>
              </a:ext>
            </a:extLst>
          </p:cNvPr>
          <p:cNvSpPr/>
          <p:nvPr/>
        </p:nvSpPr>
        <p:spPr>
          <a:xfrm>
            <a:off x="4334849" y="6119995"/>
            <a:ext cx="7556421" cy="28575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342900" indent="-342900">
              <a:lnSpc>
                <a:spcPts val="2250"/>
              </a:lnSpc>
              <a:buSzPct val="100000"/>
              <a:buFontTx/>
              <a:buChar char="•"/>
            </a:pPr>
            <a:r>
              <a:rPr lang="en-US" sz="1400" dirty="0">
                <a:solidFill>
                  <a:srgbClr val="52586B"/>
                </a:solidFill>
                <a:latin typeface="+mj-lt"/>
                <a:ea typeface="Funnel Sans" pitchFamily="34" charset="-122"/>
                <a:cs typeface="Funnel Sans" pitchFamily="34" charset="-120"/>
              </a:rPr>
              <a:t>Climate resilience index tracking adaptation measures</a:t>
            </a:r>
            <a:endParaRPr lang="en-US" sz="1400" dirty="0">
              <a:solidFill>
                <a:prstClr val="blac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9007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D9E2D-D6E6-4ECB-FD8A-83A1A6C3B5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10" name="picture 4410">
            <a:extLst>
              <a:ext uri="{FF2B5EF4-FFF2-40B4-BE49-F238E27FC236}">
                <a16:creationId xmlns:a16="http://schemas.microsoft.com/office/drawing/2014/main" id="{53B83A31-CC41-071F-2961-4D2EB8B878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600000">
            <a:off x="0" y="-36315"/>
            <a:ext cx="12236196" cy="6517098"/>
          </a:xfrm>
          <a:prstGeom prst="rect">
            <a:avLst/>
          </a:prstGeom>
        </p:spPr>
      </p:pic>
      <p:pic>
        <p:nvPicPr>
          <p:cNvPr id="4412" name="picture 4412">
            <a:extLst>
              <a:ext uri="{FF2B5EF4-FFF2-40B4-BE49-F238E27FC236}">
                <a16:creationId xmlns:a16="http://schemas.microsoft.com/office/drawing/2014/main" id="{D91D3149-0705-0A1B-A9CC-A19936884C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600000">
            <a:off x="4147762" y="-142642"/>
            <a:ext cx="8178350" cy="6480782"/>
          </a:xfrm>
          <a:prstGeom prst="rect">
            <a:avLst/>
          </a:prstGeom>
        </p:spPr>
      </p:pic>
      <p:sp>
        <p:nvSpPr>
          <p:cNvPr id="4420" name="rect 4420">
            <a:extLst>
              <a:ext uri="{FF2B5EF4-FFF2-40B4-BE49-F238E27FC236}">
                <a16:creationId xmlns:a16="http://schemas.microsoft.com/office/drawing/2014/main" id="{7775D356-54FF-95DA-FBCF-DCDA5D920160}"/>
              </a:ext>
            </a:extLst>
          </p:cNvPr>
          <p:cNvSpPr/>
          <p:nvPr/>
        </p:nvSpPr>
        <p:spPr>
          <a:xfrm>
            <a:off x="0" y="669037"/>
            <a:ext cx="268224" cy="254890"/>
          </a:xfrm>
          <a:prstGeom prst="rect">
            <a:avLst/>
          </a:prstGeom>
          <a:solidFill>
            <a:srgbClr val="9B242D">
              <a:alpha val="100000"/>
            </a:srgbClr>
          </a:solidFill>
          <a:ln w="0" cap="flat">
            <a:noFill/>
            <a:prstDash val="solid"/>
            <a:miter lim="0"/>
          </a:ln>
        </p:spPr>
        <p:txBody>
          <a:bodyPr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0">
            <a:extLst>
              <a:ext uri="{FF2B5EF4-FFF2-40B4-BE49-F238E27FC236}">
                <a16:creationId xmlns:a16="http://schemas.microsoft.com/office/drawing/2014/main" id="{0241D50F-072A-5D6F-FE30-20A05AC945F0}"/>
              </a:ext>
            </a:extLst>
          </p:cNvPr>
          <p:cNvSpPr/>
          <p:nvPr/>
        </p:nvSpPr>
        <p:spPr>
          <a:xfrm>
            <a:off x="5975390" y="38220"/>
            <a:ext cx="3640812" cy="412524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3400"/>
              </a:lnSpc>
            </a:pPr>
            <a:r>
              <a:rPr lang="en-US" sz="2400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Cross-Cutting Design</a:t>
            </a:r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D09A6D7A-77F2-0081-0D7C-A2E28D45F245}"/>
              </a:ext>
            </a:extLst>
          </p:cNvPr>
          <p:cNvSpPr/>
          <p:nvPr/>
        </p:nvSpPr>
        <p:spPr>
          <a:xfrm>
            <a:off x="0" y="1460659"/>
            <a:ext cx="4147762" cy="165009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6800"/>
              </a:lnSpc>
            </a:pPr>
            <a:r>
              <a:rPr lang="en-US" sz="2800" dirty="0">
                <a:solidFill>
                  <a:srgbClr val="373B48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Integrated  Dashboard  Framework</a:t>
            </a:r>
            <a:endParaRPr lang="en-US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4" name="Shape 2">
            <a:extLst>
              <a:ext uri="{FF2B5EF4-FFF2-40B4-BE49-F238E27FC236}">
                <a16:creationId xmlns:a16="http://schemas.microsoft.com/office/drawing/2014/main" id="{881E38BE-397B-AA8B-9B3B-C333D019146D}"/>
              </a:ext>
            </a:extLst>
          </p:cNvPr>
          <p:cNvSpPr/>
          <p:nvPr/>
        </p:nvSpPr>
        <p:spPr>
          <a:xfrm>
            <a:off x="4702635" y="728898"/>
            <a:ext cx="7556421" cy="3267941"/>
          </a:xfrm>
          <a:prstGeom prst="roundRect">
            <a:avLst>
              <a:gd name="adj" fmla="val 1697"/>
            </a:avLst>
          </a:prstGeom>
          <a:solidFill>
            <a:srgbClr val="E2E4E9"/>
          </a:solidFill>
          <a:ln w="7620">
            <a:solidFill>
              <a:srgbClr val="C8CACF"/>
            </a:solidFill>
            <a:prstDash val="solid"/>
          </a:ln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5" name="Shape 3">
            <a:extLst>
              <a:ext uri="{FF2B5EF4-FFF2-40B4-BE49-F238E27FC236}">
                <a16:creationId xmlns:a16="http://schemas.microsoft.com/office/drawing/2014/main" id="{029F3A1F-F800-CB8E-66BF-51ECD1EB2B2F}"/>
              </a:ext>
            </a:extLst>
          </p:cNvPr>
          <p:cNvSpPr/>
          <p:nvPr/>
        </p:nvSpPr>
        <p:spPr>
          <a:xfrm>
            <a:off x="4710255" y="736518"/>
            <a:ext cx="7541181" cy="760555"/>
          </a:xfrm>
          <a:prstGeom prst="roundRect">
            <a:avLst>
              <a:gd name="adj" fmla="val 7291"/>
            </a:avLst>
          </a:prstGeom>
          <a:solidFill>
            <a:srgbClr val="E2E4E9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6" name="Text 4">
            <a:extLst>
              <a:ext uri="{FF2B5EF4-FFF2-40B4-BE49-F238E27FC236}">
                <a16:creationId xmlns:a16="http://schemas.microsoft.com/office/drawing/2014/main" id="{B42B9ABF-F7D7-D3EC-197A-4DAF41BA6934}"/>
              </a:ext>
            </a:extLst>
          </p:cNvPr>
          <p:cNvSpPr/>
          <p:nvPr/>
        </p:nvSpPr>
        <p:spPr>
          <a:xfrm>
            <a:off x="4849082" y="875346"/>
            <a:ext cx="1736646" cy="20626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ata Integration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7" name="Text 5">
            <a:extLst>
              <a:ext uri="{FF2B5EF4-FFF2-40B4-BE49-F238E27FC236}">
                <a16:creationId xmlns:a16="http://schemas.microsoft.com/office/drawing/2014/main" id="{02732370-D11F-EB4C-1C49-793F3876CF99}"/>
              </a:ext>
            </a:extLst>
          </p:cNvPr>
          <p:cNvSpPr/>
          <p:nvPr/>
        </p:nvSpPr>
        <p:spPr>
          <a:xfrm>
            <a:off x="4849082" y="1175739"/>
            <a:ext cx="7263527" cy="2112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Pull directly from questionnaire sections (C–J) with automated data flows and real-time updates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8" name="Shape 6">
            <a:extLst>
              <a:ext uri="{FF2B5EF4-FFF2-40B4-BE49-F238E27FC236}">
                <a16:creationId xmlns:a16="http://schemas.microsoft.com/office/drawing/2014/main" id="{DCC555D0-AEDE-C57A-FFCE-281E34D60EA1}"/>
              </a:ext>
            </a:extLst>
          </p:cNvPr>
          <p:cNvSpPr/>
          <p:nvPr/>
        </p:nvSpPr>
        <p:spPr>
          <a:xfrm>
            <a:off x="4710255" y="1536856"/>
            <a:ext cx="7541181" cy="760555"/>
          </a:xfrm>
          <a:prstGeom prst="rect">
            <a:avLst/>
          </a:prstGeom>
          <a:solidFill>
            <a:srgbClr val="E2E4E9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9" name="Shape 7">
            <a:extLst>
              <a:ext uri="{FF2B5EF4-FFF2-40B4-BE49-F238E27FC236}">
                <a16:creationId xmlns:a16="http://schemas.microsoft.com/office/drawing/2014/main" id="{ADA9AE2D-1A7C-75F4-C69C-62037DAF97E9}"/>
              </a:ext>
            </a:extLst>
          </p:cNvPr>
          <p:cNvSpPr/>
          <p:nvPr/>
        </p:nvSpPr>
        <p:spPr>
          <a:xfrm>
            <a:off x="4710255" y="1536855"/>
            <a:ext cx="7541181" cy="45719"/>
          </a:xfrm>
          <a:prstGeom prst="roundRect">
            <a:avLst>
              <a:gd name="adj" fmla="val 382883"/>
            </a:avLst>
          </a:prstGeom>
          <a:solidFill>
            <a:srgbClr val="C8CACF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1" name="Text 8">
            <a:extLst>
              <a:ext uri="{FF2B5EF4-FFF2-40B4-BE49-F238E27FC236}">
                <a16:creationId xmlns:a16="http://schemas.microsoft.com/office/drawing/2014/main" id="{BD0B5DA9-8276-2420-6DA8-F440AC8E4463}"/>
              </a:ext>
            </a:extLst>
          </p:cNvPr>
          <p:cNvSpPr/>
          <p:nvPr/>
        </p:nvSpPr>
        <p:spPr>
          <a:xfrm>
            <a:off x="4849082" y="1675684"/>
            <a:ext cx="1736646" cy="20626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isaggregation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3" name="Text 9">
            <a:extLst>
              <a:ext uri="{FF2B5EF4-FFF2-40B4-BE49-F238E27FC236}">
                <a16:creationId xmlns:a16="http://schemas.microsoft.com/office/drawing/2014/main" id="{BFC4D736-0F07-6BFC-3CC5-2737675AA9F3}"/>
              </a:ext>
            </a:extLst>
          </p:cNvPr>
          <p:cNvSpPr/>
          <p:nvPr/>
        </p:nvSpPr>
        <p:spPr>
          <a:xfrm>
            <a:off x="4849082" y="1976077"/>
            <a:ext cx="7263527" cy="2112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All metrics disaggregated by KPMD participation status and gender for comprehensive analysis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5" name="Shape 10">
            <a:extLst>
              <a:ext uri="{FF2B5EF4-FFF2-40B4-BE49-F238E27FC236}">
                <a16:creationId xmlns:a16="http://schemas.microsoft.com/office/drawing/2014/main" id="{89C45351-0809-0E57-9129-B702E5AE69DA}"/>
              </a:ext>
            </a:extLst>
          </p:cNvPr>
          <p:cNvSpPr/>
          <p:nvPr/>
        </p:nvSpPr>
        <p:spPr>
          <a:xfrm>
            <a:off x="4710255" y="2337194"/>
            <a:ext cx="7541181" cy="760555"/>
          </a:xfrm>
          <a:prstGeom prst="rect">
            <a:avLst/>
          </a:prstGeom>
          <a:solidFill>
            <a:srgbClr val="E2E4E9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6" name="Shape 11">
            <a:extLst>
              <a:ext uri="{FF2B5EF4-FFF2-40B4-BE49-F238E27FC236}">
                <a16:creationId xmlns:a16="http://schemas.microsoft.com/office/drawing/2014/main" id="{6108A560-0242-CF58-36FE-D690DE7FCA27}"/>
              </a:ext>
            </a:extLst>
          </p:cNvPr>
          <p:cNvSpPr/>
          <p:nvPr/>
        </p:nvSpPr>
        <p:spPr>
          <a:xfrm>
            <a:off x="4710255" y="2337193"/>
            <a:ext cx="7541181" cy="45719"/>
          </a:xfrm>
          <a:prstGeom prst="roundRect">
            <a:avLst>
              <a:gd name="adj" fmla="val 382883"/>
            </a:avLst>
          </a:prstGeom>
          <a:solidFill>
            <a:srgbClr val="C8CACF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7" name="Text 12">
            <a:extLst>
              <a:ext uri="{FF2B5EF4-FFF2-40B4-BE49-F238E27FC236}">
                <a16:creationId xmlns:a16="http://schemas.microsoft.com/office/drawing/2014/main" id="{3F697468-CCB9-59BE-C8DB-C12410DFBAC1}"/>
              </a:ext>
            </a:extLst>
          </p:cNvPr>
          <p:cNvSpPr/>
          <p:nvPr/>
        </p:nvSpPr>
        <p:spPr>
          <a:xfrm>
            <a:off x="4849082" y="2476022"/>
            <a:ext cx="1821894" cy="20626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Longitudinal Tracking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8" name="Text 13">
            <a:extLst>
              <a:ext uri="{FF2B5EF4-FFF2-40B4-BE49-F238E27FC236}">
                <a16:creationId xmlns:a16="http://schemas.microsoft.com/office/drawing/2014/main" id="{F7678002-766B-E28E-D217-D17C6A5656C8}"/>
              </a:ext>
            </a:extLst>
          </p:cNvPr>
          <p:cNvSpPr/>
          <p:nvPr/>
        </p:nvSpPr>
        <p:spPr>
          <a:xfrm>
            <a:off x="4849082" y="2776416"/>
            <a:ext cx="7263527" cy="21124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Show change over waves (baseline → midline → longitudinal) with trend analysis and impact attribution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9" name="Shape 14">
            <a:extLst>
              <a:ext uri="{FF2B5EF4-FFF2-40B4-BE49-F238E27FC236}">
                <a16:creationId xmlns:a16="http://schemas.microsoft.com/office/drawing/2014/main" id="{44FDEDCD-2BC0-51EF-F9E4-B07A9BE0E97D}"/>
              </a:ext>
            </a:extLst>
          </p:cNvPr>
          <p:cNvSpPr/>
          <p:nvPr/>
        </p:nvSpPr>
        <p:spPr>
          <a:xfrm>
            <a:off x="4695015" y="3216290"/>
            <a:ext cx="7541181" cy="971795"/>
          </a:xfrm>
          <a:prstGeom prst="rect">
            <a:avLst/>
          </a:prstGeom>
          <a:solidFill>
            <a:srgbClr val="E2E4E9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21" name="Shape 15">
            <a:extLst>
              <a:ext uri="{FF2B5EF4-FFF2-40B4-BE49-F238E27FC236}">
                <a16:creationId xmlns:a16="http://schemas.microsoft.com/office/drawing/2014/main" id="{00709DE4-98CE-149A-6053-74B639DF7E08}"/>
              </a:ext>
            </a:extLst>
          </p:cNvPr>
          <p:cNvSpPr/>
          <p:nvPr/>
        </p:nvSpPr>
        <p:spPr>
          <a:xfrm>
            <a:off x="4710255" y="3137531"/>
            <a:ext cx="7541181" cy="45719"/>
          </a:xfrm>
          <a:prstGeom prst="roundRect">
            <a:avLst>
              <a:gd name="adj" fmla="val 382883"/>
            </a:avLst>
          </a:prstGeom>
          <a:solidFill>
            <a:srgbClr val="C8CACF"/>
          </a:solidFill>
          <a:ln/>
        </p:spPr>
        <p:txBody>
          <a:bodyPr/>
          <a:lstStyle/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22" name="Text 16">
            <a:extLst>
              <a:ext uri="{FF2B5EF4-FFF2-40B4-BE49-F238E27FC236}">
                <a16:creationId xmlns:a16="http://schemas.microsoft.com/office/drawing/2014/main" id="{11AD757A-E48A-BBB1-93BD-A6969D24791D}"/>
              </a:ext>
            </a:extLst>
          </p:cNvPr>
          <p:cNvSpPr/>
          <p:nvPr/>
        </p:nvSpPr>
        <p:spPr>
          <a:xfrm>
            <a:off x="4849082" y="3276360"/>
            <a:ext cx="1736646" cy="206262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 marL="0" indent="0" algn="l">
              <a:lnSpc>
                <a:spcPts val="170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Mona Sans Semi Bold" pitchFamily="34" charset="-122"/>
                <a:cs typeface="Arial" panose="020B0604020202020204" pitchFamily="34" charset="0"/>
              </a:rPr>
              <a:t>Decision Suppor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23" name="Text 17">
            <a:extLst>
              <a:ext uri="{FF2B5EF4-FFF2-40B4-BE49-F238E27FC236}">
                <a16:creationId xmlns:a16="http://schemas.microsoft.com/office/drawing/2014/main" id="{375918AE-E55B-56FE-BAEF-B13750CD496F}"/>
              </a:ext>
            </a:extLst>
          </p:cNvPr>
          <p:cNvSpPr/>
          <p:nvPr/>
        </p:nvSpPr>
        <p:spPr>
          <a:xfrm>
            <a:off x="4849082" y="3576755"/>
            <a:ext cx="7263527" cy="4224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Tied to decision-use cases: climate impact guides feed/fodder investment, gender inclusion informs women-focused interventions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24" name="Text 18">
            <a:extLst>
              <a:ext uri="{FF2B5EF4-FFF2-40B4-BE49-F238E27FC236}">
                <a16:creationId xmlns:a16="http://schemas.microsoft.com/office/drawing/2014/main" id="{642707B5-4EC9-E27B-634F-2BA6D8FE940F}"/>
              </a:ext>
            </a:extLst>
          </p:cNvPr>
          <p:cNvSpPr/>
          <p:nvPr/>
        </p:nvSpPr>
        <p:spPr>
          <a:xfrm>
            <a:off x="4702635" y="4323991"/>
            <a:ext cx="7556421" cy="42248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1750"/>
              </a:lnSpc>
              <a:buNone/>
            </a:pPr>
            <a:r>
              <a:rPr lang="en-US" sz="1200" dirty="0">
                <a:solidFill>
                  <a:srgbClr val="52586B"/>
                </a:solidFill>
                <a:latin typeface="Arial" panose="020B0604020202020204" pitchFamily="34" charset="0"/>
                <a:ea typeface="Funnel Sans" pitchFamily="34" charset="-122"/>
                <a:cs typeface="Arial" panose="020B0604020202020204" pitchFamily="34" charset="0"/>
              </a:rPr>
              <a:t>Each dashboard theme provides actionable insights for program adaptation and scaling decisions, ensuring data-driven implementation of pastoral market transformation initiatives across target counties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762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2"/>
            </p:custDataLst>
          </p:nvPr>
        </p:nvSpPr>
        <p:spPr>
          <a:xfrm>
            <a:off x="1284743" y="2455207"/>
            <a:ext cx="10507864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13A4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Appendix- Sample of the data presentation out-look </a:t>
            </a:r>
          </a:p>
        </p:txBody>
      </p:sp>
      <p:sp>
        <p:nvSpPr>
          <p:cNvPr id="2" name="Rectangle 1"/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13A4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BAD19C9-8ABA-16E9-0677-C98887B9D7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693" y="543909"/>
            <a:ext cx="10033734" cy="582423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CB8DBA-D2B7-9D59-CE94-CA7C922080B9}"/>
              </a:ext>
            </a:extLst>
          </p:cNvPr>
          <p:cNvSpPr txBox="1"/>
          <p:nvPr/>
        </p:nvSpPr>
        <p:spPr>
          <a:xfrm>
            <a:off x="8805041" y="97993"/>
            <a:ext cx="3034862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ample output –for offtakes  sales </a:t>
            </a:r>
          </a:p>
        </p:txBody>
      </p:sp>
    </p:spTree>
    <p:extLst>
      <p:ext uri="{BB962C8B-B14F-4D97-AF65-F5344CB8AC3E}">
        <p14:creationId xmlns:p14="http://schemas.microsoft.com/office/powerpoint/2010/main" val="17572874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0644613-DD4F-5320-7C09-998F53E41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30" y="522514"/>
            <a:ext cx="9817204" cy="62374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A5F3F9-BAF1-DA1D-7C78-0C96F9298B5B}"/>
              </a:ext>
            </a:extLst>
          </p:cNvPr>
          <p:cNvSpPr txBox="1"/>
          <p:nvPr/>
        </p:nvSpPr>
        <p:spPr>
          <a:xfrm>
            <a:off x="8805041" y="97993"/>
            <a:ext cx="3034862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ample slide output –for offtakes  sales </a:t>
            </a:r>
          </a:p>
        </p:txBody>
      </p:sp>
    </p:spTree>
    <p:extLst>
      <p:ext uri="{BB962C8B-B14F-4D97-AF65-F5344CB8AC3E}">
        <p14:creationId xmlns:p14="http://schemas.microsoft.com/office/powerpoint/2010/main" val="519093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b028055-98cd-4f0b-a746-03f4cea2de1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Appendix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satMod val="110000"/>
                <a:lum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satMod val="105000"/>
                <a:lum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shade val="94000"/>
              </a:schemeClr>
            </a:gs>
            <a:gs pos="50000">
              <a:schemeClr val="phClr">
                <a:lumMod val="110000"/>
                <a:satMod val="100000"/>
                <a:tint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Custom 2">
      <a:dk1>
        <a:srgbClr val="000000"/>
      </a:dk1>
      <a:lt1>
        <a:srgbClr val="FFFFFF"/>
      </a:lt1>
      <a:dk2>
        <a:srgbClr val="5393AB"/>
      </a:dk2>
      <a:lt2>
        <a:srgbClr val="F2F2F2"/>
      </a:lt2>
      <a:accent1>
        <a:srgbClr val="294955"/>
      </a:accent1>
      <a:accent2>
        <a:srgbClr val="3E6E80"/>
      </a:accent2>
      <a:accent3>
        <a:srgbClr val="FED827"/>
      </a:accent3>
      <a:accent4>
        <a:srgbClr val="5393AB"/>
      </a:accent4>
      <a:accent5>
        <a:srgbClr val="7F7F7F"/>
      </a:accent5>
      <a:accent6>
        <a:srgbClr val="DA636C"/>
      </a:accent6>
      <a:hlink>
        <a:srgbClr val="9A501E"/>
      </a:hlink>
      <a:folHlink>
        <a:srgbClr val="E4A57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BCG Grid 16:9">
  <a:themeElements>
    <a:clrScheme name="Custom 2">
      <a:dk1>
        <a:srgbClr val="000000"/>
      </a:dk1>
      <a:lt1>
        <a:srgbClr val="FFFFFF"/>
      </a:lt1>
      <a:dk2>
        <a:srgbClr val="5393AB"/>
      </a:dk2>
      <a:lt2>
        <a:srgbClr val="F2F2F2"/>
      </a:lt2>
      <a:accent1>
        <a:srgbClr val="294955"/>
      </a:accent1>
      <a:accent2>
        <a:srgbClr val="3E6E80"/>
      </a:accent2>
      <a:accent3>
        <a:srgbClr val="FED827"/>
      </a:accent3>
      <a:accent4>
        <a:srgbClr val="5393AB"/>
      </a:accent4>
      <a:accent5>
        <a:srgbClr val="7F7F7F"/>
      </a:accent5>
      <a:accent6>
        <a:srgbClr val="DA636C"/>
      </a:accent6>
      <a:hlink>
        <a:srgbClr val="9A501E"/>
      </a:hlink>
      <a:folHlink>
        <a:srgbClr val="E4A57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Gates Foundation Grid 16:9 - 26838">
  <a:themeElements>
    <a:clrScheme name="gatessssssssssssss">
      <a:dk1>
        <a:srgbClr val="313A44"/>
      </a:dk1>
      <a:lt1>
        <a:sysClr val="window" lastClr="FFFFFF"/>
      </a:lt1>
      <a:dk2>
        <a:srgbClr val="313A44"/>
      </a:dk2>
      <a:lt2>
        <a:srgbClr val="F5F3ED"/>
      </a:lt2>
      <a:accent1>
        <a:srgbClr val="181D22"/>
      </a:accent1>
      <a:accent2>
        <a:srgbClr val="3C3C3C"/>
      </a:accent2>
      <a:accent3>
        <a:srgbClr val="3AC9B1"/>
      </a:accent3>
      <a:accent4>
        <a:srgbClr val="75889C"/>
      </a:accent4>
      <a:accent5>
        <a:srgbClr val="9A9A9A"/>
      </a:accent5>
      <a:accent6>
        <a:srgbClr val="F85C02"/>
      </a:accent6>
      <a:hlink>
        <a:srgbClr val="248AF9"/>
      </a:hlink>
      <a:folHlink>
        <a:srgbClr val="81C9F3"/>
      </a:folHlink>
    </a:clrScheme>
    <a:fontScheme name="Custom 1">
      <a:majorFont>
        <a:latin typeface="Cambria"/>
        <a:ea typeface=""/>
        <a:cs typeface=""/>
      </a:majorFont>
      <a:minorFont>
        <a:latin typeface="Calibr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13A44"/>
        </a:solidFill>
        <a:ln w="9525" cap="rnd" cmpd="sng" algn="ctr">
          <a:solidFill>
            <a:srgbClr val="313A4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noAutofit/>
      </a:bodyPr>
      <a:lstStyle>
        <a:defPPr algn="ctr">
          <a:defRPr sz="1200" dirty="0" smtClean="0">
            <a:solidFill>
              <a:srgbClr val="313A4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4</TotalTime>
  <Words>687</Words>
  <Application>Microsoft Office PowerPoint</Application>
  <PresentationFormat>Widescreen</PresentationFormat>
  <Paragraphs>102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7" baseType="lpstr">
      <vt:lpstr>Aptos</vt:lpstr>
      <vt:lpstr>Arial</vt:lpstr>
      <vt:lpstr>Calibri</vt:lpstr>
      <vt:lpstr>Calibri Light</vt:lpstr>
      <vt:lpstr>Cambria</vt:lpstr>
      <vt:lpstr>Funnel Sans</vt:lpstr>
      <vt:lpstr>Mona Sans Semi Bold</vt:lpstr>
      <vt:lpstr>Noto Sans</vt:lpstr>
      <vt:lpstr>Times New Roman</vt:lpstr>
      <vt:lpstr>Trebuchet MS</vt:lpstr>
      <vt:lpstr>Wingdings</vt:lpstr>
      <vt:lpstr>1_Office theme</vt:lpstr>
      <vt:lpstr>BCG Grid 16:9</vt:lpstr>
      <vt:lpstr>2_Office Theme</vt:lpstr>
      <vt:lpstr>1_BCG Grid 16:9</vt:lpstr>
      <vt:lpstr>Gates Foundation Grid 16:9 - 26838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PS Presentation</dc:title>
  <dc:creator>Castro Ngumbu Gichuki</dc:creator>
  <cp:lastModifiedBy>Castro Gichuki</cp:lastModifiedBy>
  <cp:revision>13</cp:revision>
  <dcterms:created xsi:type="dcterms:W3CDTF">2025-07-23T00:59:00Z</dcterms:created>
  <dcterms:modified xsi:type="dcterms:W3CDTF">2025-10-02T04:1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3D98EA922644B478A13410A32A3BB50_13</vt:lpwstr>
  </property>
  <property fmtid="{D5CDD505-2E9C-101B-9397-08002B2CF9AE}" pid="3" name="KSOProductBuildVer">
    <vt:lpwstr>2052-12.1.0.21915</vt:lpwstr>
  </property>
</Properties>
</file>